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01" r:id="rId4"/>
    <p:sldMasterId id="2147484373" r:id="rId5"/>
    <p:sldMasterId id="2147484387" r:id="rId6"/>
    <p:sldMasterId id="2147484440" r:id="rId7"/>
  </p:sldMasterIdLst>
  <p:notesMasterIdLst>
    <p:notesMasterId r:id="rId33"/>
  </p:notesMasterIdLst>
  <p:handoutMasterIdLst>
    <p:handoutMasterId r:id="rId34"/>
  </p:handoutMasterIdLst>
  <p:sldIdLst>
    <p:sldId id="675" r:id="rId8"/>
    <p:sldId id="800" r:id="rId9"/>
    <p:sldId id="849" r:id="rId10"/>
    <p:sldId id="751" r:id="rId11"/>
    <p:sldId id="308" r:id="rId12"/>
    <p:sldId id="848" r:id="rId13"/>
    <p:sldId id="801" r:id="rId14"/>
    <p:sldId id="765" r:id="rId15"/>
    <p:sldId id="754" r:id="rId16"/>
    <p:sldId id="851" r:id="rId17"/>
    <p:sldId id="794" r:id="rId18"/>
    <p:sldId id="817" r:id="rId19"/>
    <p:sldId id="802" r:id="rId20"/>
    <p:sldId id="769" r:id="rId21"/>
    <p:sldId id="805" r:id="rId22"/>
    <p:sldId id="781" r:id="rId23"/>
    <p:sldId id="813" r:id="rId24"/>
    <p:sldId id="836" r:id="rId25"/>
    <p:sldId id="829" r:id="rId26"/>
    <p:sldId id="1817" r:id="rId27"/>
    <p:sldId id="853" r:id="rId28"/>
    <p:sldId id="1815" r:id="rId29"/>
    <p:sldId id="1625" r:id="rId30"/>
    <p:sldId id="1827" r:id="rId31"/>
    <p:sldId id="637" r:id="rId32"/>
  </p:sldIdLst>
  <p:sldSz cx="12192000" cy="6858000"/>
  <p:notesSz cx="9296400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35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B1FF"/>
    <a:srgbClr val="FF6600"/>
    <a:srgbClr val="007A37"/>
    <a:srgbClr val="FF9933"/>
    <a:srgbClr val="DAEFC3"/>
    <a:srgbClr val="FF9999"/>
    <a:srgbClr val="0078D7"/>
    <a:srgbClr val="A80000"/>
    <a:srgbClr val="006699"/>
    <a:srgbClr val="333F5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C129E0-CF45-41F9-9927-2C4B87C7CB3A}" v="185" dt="2018-09-26T16:23:00.1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19" autoAdjust="0"/>
    <p:restoredTop sz="78639" autoAdjust="0"/>
  </p:normalViewPr>
  <p:slideViewPr>
    <p:cSldViewPr snapToGrid="0">
      <p:cViewPr varScale="1">
        <p:scale>
          <a:sx n="78" d="100"/>
          <a:sy n="78" d="100"/>
        </p:scale>
        <p:origin x="1724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417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2980"/>
    </p:cViewPr>
  </p:sorterViewPr>
  <p:notesViewPr>
    <p:cSldViewPr snapToGrid="0">
      <p:cViewPr>
        <p:scale>
          <a:sx n="110" d="100"/>
          <a:sy n="110" d="100"/>
        </p:scale>
        <p:origin x="3024" y="47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014" y="0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8292B2-F443-4406-AF1D-6FCCF7051E0A}" type="datetimeFigureOut">
              <a:rPr lang="en-US" smtClean="0"/>
              <a:t>3/1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658444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014" y="6658444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C0E5BE-1D13-46BE-BA31-E459C01FB2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1971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BC14F8-2A55-40C9-87BD-D5E13FBD71FB}" type="datetimeFigureOut">
              <a:rPr lang="en-US" smtClean="0"/>
              <a:t>3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6"/>
            <a:ext cx="7437120" cy="27603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84ABEE-72D2-4711-B507-13A06E43880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095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430C9-2443-4FD6-9162-F44D32FAF9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9081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8334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t is possible for a non-Azure user to access the Databricks cluster through a public URL. Such users have limited righ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123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4678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4348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0829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0220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1156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5905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5968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938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7545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84ABEE-72D2-4711-B507-13A06E4388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6645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8432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4/2020 7:36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73448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4/2020 7:36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7600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4/2020 7:36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52138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6096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CD5F8F-46C9-46A5-9E1B-00B0A72B40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7306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8875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2275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tabricks, founded by the team that created Apache Spark – unified analytics platform that accelerates innovation by unifying data science, engineering &amp; busin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75% of the code committed to Apache Spark comes from Databri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Unified Runti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reate clusters in seconds, dynamically scale them up and down.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hey’ve made enhancements to Spark engine to make it 10x faster than open source Spar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Serverless</a:t>
            </a:r>
            <a:r>
              <a:rPr lang="en-US" dirty="0"/>
              <a:t>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uto-configured multi-user cluster,  Reliable sharing with fault isol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Unified Collabor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Overall – a simple &amp; collaborative environment that enables your entire team to use Spark &amp; interact with your data simultaneousl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E – Improve ETL performance, zero management clusters. Execute production code from within noteboo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S - For data scientists, easy data exploration in notebook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Business SME – interactive dashboards empower teams to create dynamic report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Enterprise Secur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Encryp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Fine grained  Role-based access control (files, clusters, code, application, dashboard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dirty="0"/>
              <a:t>Compli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Rest APIs</a:t>
            </a:r>
          </a:p>
          <a:p>
            <a:endParaRPr lang="en-US" dirty="0"/>
          </a:p>
          <a:p>
            <a:r>
              <a:rPr lang="en-US" dirty="0"/>
              <a:t>DE </a:t>
            </a:r>
            <a:r>
              <a:rPr lang="mr-IN" dirty="0"/>
              <a:t>–</a:t>
            </a:r>
            <a:r>
              <a:rPr lang="en-US" dirty="0"/>
              <a:t> DBIO, SPARK,</a:t>
            </a:r>
            <a:r>
              <a:rPr lang="en-US" baseline="0" dirty="0"/>
              <a:t> API’s , JOBS</a:t>
            </a:r>
          </a:p>
          <a:p>
            <a:r>
              <a:rPr lang="en-US" baseline="0" dirty="0"/>
              <a:t>DS </a:t>
            </a:r>
            <a:r>
              <a:rPr lang="mr-IN" baseline="0" dirty="0"/>
              <a:t>–</a:t>
            </a:r>
            <a:r>
              <a:rPr lang="en-US" baseline="0" dirty="0"/>
              <a:t> Spark and </a:t>
            </a:r>
            <a:r>
              <a:rPr lang="en-US" baseline="0" dirty="0" err="1"/>
              <a:t>Serverless</a:t>
            </a:r>
            <a:r>
              <a:rPr lang="en-US" baseline="0" dirty="0"/>
              <a:t>, Interactive Data Science</a:t>
            </a:r>
          </a:p>
          <a:p>
            <a:r>
              <a:rPr lang="en-US" baseline="0" dirty="0"/>
              <a:t>Data Products - Everything</a:t>
            </a:r>
            <a:endParaRPr lang="en-US" dirty="0"/>
          </a:p>
          <a:p>
            <a:endParaRPr lang="en-US" dirty="0"/>
          </a:p>
          <a:p>
            <a:r>
              <a:rPr lang="en-US" dirty="0"/>
              <a:t>Creators of</a:t>
            </a:r>
            <a:r>
              <a:rPr lang="en-US" baseline="0" dirty="0"/>
              <a:t> Spark</a:t>
            </a:r>
          </a:p>
          <a:p>
            <a:r>
              <a:rPr lang="en-US" baseline="0" dirty="0"/>
              <a:t>Training People</a:t>
            </a:r>
          </a:p>
          <a:p>
            <a:r>
              <a:rPr lang="en-US" baseline="0" dirty="0"/>
              <a:t>Number of Customers</a:t>
            </a:r>
          </a:p>
          <a:p>
            <a:endParaRPr lang="en-US" dirty="0"/>
          </a:p>
          <a:p>
            <a:r>
              <a:rPr lang="en-US" dirty="0"/>
              <a:t>Ingest</a:t>
            </a:r>
          </a:p>
          <a:p>
            <a:endParaRPr lang="en-US" dirty="0"/>
          </a:p>
          <a:p>
            <a:r>
              <a:rPr lang="en-US" dirty="0"/>
              <a:t>Workflow</a:t>
            </a:r>
          </a:p>
          <a:p>
            <a:endParaRPr lang="en-US" dirty="0"/>
          </a:p>
          <a:p>
            <a:r>
              <a:rPr lang="en-US" dirty="0"/>
              <a:t>Schedule / Run / Monitor</a:t>
            </a:r>
          </a:p>
          <a:p>
            <a:endParaRPr lang="en-US" dirty="0"/>
          </a:p>
          <a:p>
            <a:r>
              <a:rPr lang="en-US" dirty="0"/>
              <a:t>Execute</a:t>
            </a:r>
          </a:p>
          <a:p>
            <a:endParaRPr lang="en-US" dirty="0"/>
          </a:p>
          <a:p>
            <a:r>
              <a:rPr lang="en-US" dirty="0"/>
              <a:t>Troubleshoot</a:t>
            </a:r>
          </a:p>
          <a:p>
            <a:endParaRPr lang="en-US" dirty="0"/>
          </a:p>
          <a:p>
            <a:r>
              <a:rPr lang="en-US" dirty="0"/>
              <a:t>Debug</a:t>
            </a:r>
          </a:p>
          <a:p>
            <a:endParaRPr lang="en-US" dirty="0"/>
          </a:p>
          <a:p>
            <a:r>
              <a:rPr lang="en-US" dirty="0"/>
              <a:t>Production</a:t>
            </a:r>
            <a:r>
              <a:rPr lang="en-US" baseline="0" dirty="0"/>
              <a:t> Jobs</a:t>
            </a:r>
          </a:p>
          <a:p>
            <a:r>
              <a:rPr lang="en-US" baseline="0" dirty="0"/>
              <a:t>---------</a:t>
            </a:r>
          </a:p>
          <a:p>
            <a:endParaRPr lang="en-US" baseline="0" dirty="0"/>
          </a:p>
          <a:p>
            <a:r>
              <a:rPr lang="en-US" baseline="0" dirty="0"/>
              <a:t>Ingest, ETL, Scheduling, Monitor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864E82-B42A-F64E-B04D-3584A85182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3900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0498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851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3725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itting at a table using a computer&#10;&#10;Description generated with high confidence">
            <a:extLst>
              <a:ext uri="{FF2B5EF4-FFF2-40B4-BE49-F238E27FC236}">
                <a16:creationId xmlns:a16="http://schemas.microsoft.com/office/drawing/2014/main" id="{AC14534E-46CD-4303-B862-80358F1B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-2" y="-5304"/>
            <a:ext cx="4526282" cy="6863304"/>
          </a:xfrm>
          <a:prstGeom prst="rect">
            <a:avLst/>
          </a:prstGeom>
          <a:gradFill>
            <a:gsLst>
              <a:gs pos="0">
                <a:schemeClr val="bg1">
                  <a:alpha val="71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6292" y="256398"/>
            <a:ext cx="1829371" cy="67301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7682" y="2084172"/>
            <a:ext cx="6274974" cy="358620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5" spc="-98" baseline="0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5669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539870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Sub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23328B-C5F1-4431-B4F3-E9DDC5CC2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5E480-06E3-466E-AB06-00AD3BF92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-541796"/>
            <a:ext cx="11656060" cy="350865"/>
          </a:xfrm>
        </p:spPr>
        <p:txBody>
          <a:bodyPr/>
          <a:lstStyle>
            <a:lvl1pPr>
              <a:defRPr sz="1200" b="0" spc="300">
                <a:latin typeface="+mn-lt"/>
              </a:defRPr>
            </a:lvl1pPr>
          </a:lstStyle>
          <a:p>
            <a:pPr lvl="0"/>
            <a:r>
              <a:rPr lang="en-US" dirty="0"/>
              <a:t>SUBHEAD 16 PT</a:t>
            </a:r>
          </a:p>
        </p:txBody>
      </p:sp>
    </p:spTree>
    <p:extLst>
      <p:ext uri="{BB962C8B-B14F-4D97-AF65-F5344CB8AC3E}">
        <p14:creationId xmlns:p14="http://schemas.microsoft.com/office/powerpoint/2010/main" val="390246247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23955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blu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619444"/>
          </a:xfrm>
        </p:spPr>
        <p:txBody>
          <a:bodyPr/>
          <a:lstStyle>
            <a:lvl1pPr algn="ctr">
              <a:defRPr lang="en-US" sz="2400" b="0" kern="1200" cap="all" spc="800" baseline="0" dirty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Segoe UI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55917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F9C77CE-6642-4EB3-964C-4757236312BC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 dirty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4629637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30" tIns="89630" rIns="89630" bIns="8963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5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4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819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61601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470635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15144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330926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46914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97952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17726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960851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734589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28710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">
    <p:bg>
      <p:bgPr>
        <a:solidFill>
          <a:srgbClr val="0018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0352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71943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513877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100853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027792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1" y="3145041"/>
            <a:ext cx="3288506" cy="704445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266127" y="5819468"/>
            <a:ext cx="11659748" cy="88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79259" tIns="143409" rIns="179259" bIns="143409"/>
          <a:lstStyle>
            <a:lvl1pPr>
              <a:defRPr>
                <a:solidFill>
                  <a:schemeClr val="tx1"/>
                </a:solidFill>
                <a:latin typeface="Segoe U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charset="0"/>
                <a:ea typeface="ＭＳ Ｐゴシック" charset="0"/>
              </a:defRPr>
            </a:lvl9pPr>
          </a:lstStyle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© 2017 Microsoft Corporation. All rights reserved. Microsoft, Windows, and other product names are or may be registered trademarks and/or trademarks in the U.S. and/or other countries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The information herein is for informational purposes only and represents the current view of Microsoft Corporation as of the date of this presentation. Because Microsoft must respond to changing market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conditions, it should not be interpreted to be a commitment on the part of Microsoft, and Microsoft cannot guarantee the accuracy of any information provided after the date of this presentation.</a:t>
            </a:r>
          </a:p>
          <a:p>
            <a:pPr defTabSz="913330" fontAlgn="base">
              <a:lnSpc>
                <a:spcPts val="117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80" dirty="0">
                <a:solidFill>
                  <a:srgbClr val="FFFFFF"/>
                </a:solidFill>
              </a:rPr>
              <a:t>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12956304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2661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238103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1268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8666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986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0659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50170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1792326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5833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7258FFF-F925-446B-8502-81C93398170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5226" y="470410"/>
            <a:ext cx="1606863" cy="35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919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941259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437667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26518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456325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3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3" y="2914177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1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1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3" y="2059075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09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39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3" y="1203973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7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7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3" y="348871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5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1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3" y="6334585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1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49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3" y="5479483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7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7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3" y="4624381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5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5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3" y="3769279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3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714380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524026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909760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12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19341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8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  <p:sldLayoutId id="2147484002" r:id="rId2"/>
    <p:sldLayoutId id="2147484249" r:id="rId3"/>
    <p:sldLayoutId id="2147484368" r:id="rId4"/>
    <p:sldLayoutId id="2147484370" r:id="rId5"/>
    <p:sldLayoutId id="2147484371" r:id="rId6"/>
    <p:sldLayoutId id="2147484372" r:id="rId7"/>
    <p:sldLayoutId id="2147484484" r:id="rId8"/>
    <p:sldLayoutId id="2147484486" r:id="rId9"/>
    <p:sldLayoutId id="2147484487" r:id="rId10"/>
    <p:sldLayoutId id="2147484488" r:id="rId11"/>
    <p:sldLayoutId id="2147484490" r:id="rId12"/>
    <p:sldLayoutId id="2147484491" r:id="rId13"/>
    <p:sldLayoutId id="2147484492" r:id="rId14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4" r:id="rId1"/>
    <p:sldLayoutId id="2147484375" r:id="rId2"/>
    <p:sldLayoutId id="2147484376" r:id="rId3"/>
    <p:sldLayoutId id="2147484377" r:id="rId4"/>
    <p:sldLayoutId id="2147484380" r:id="rId5"/>
    <p:sldLayoutId id="2147484382" r:id="rId6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6852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8" r:id="rId1"/>
    <p:sldLayoutId id="2147484389" r:id="rId2"/>
    <p:sldLayoutId id="2147484390" r:id="rId3"/>
    <p:sldLayoutId id="2147484391" r:id="rId4"/>
    <p:sldLayoutId id="2147484392" r:id="rId5"/>
    <p:sldLayoutId id="2147484393" r:id="rId6"/>
    <p:sldLayoutId id="2147484394" r:id="rId7"/>
    <p:sldLayoutId id="2147484395" r:id="rId8"/>
    <p:sldLayoutId id="2147484396" r:id="rId9"/>
    <p:sldLayoutId id="2147484397" r:id="rId10"/>
    <p:sldLayoutId id="2147484398" r:id="rId11"/>
    <p:sldLayoutId id="2147484399" r:id="rId12"/>
    <p:sldLayoutId id="2147484400" r:id="rId13"/>
    <p:sldLayoutId id="2147484401" r:id="rId14"/>
    <p:sldLayoutId id="2147484402" r:id="rId15"/>
    <p:sldLayoutId id="2147484403" r:id="rId16"/>
    <p:sldLayoutId id="2147484404" r:id="rId17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8928" y="29110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69239" y="6558796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gradFill>
                  <a:gsLst>
                    <a:gs pos="2239">
                      <a:schemeClr val="tx1"/>
                    </a:gs>
                    <a:gs pos="1194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Microsoft Confidentia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58796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gradFill>
                  <a:gsLst>
                    <a:gs pos="2239">
                      <a:schemeClr val="tx1"/>
                    </a:gs>
                    <a:gs pos="1194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971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1" r:id="rId1"/>
    <p:sldLayoutId id="2147484442" r:id="rId2"/>
    <p:sldLayoutId id="2147484443" r:id="rId3"/>
    <p:sldLayoutId id="2147484444" r:id="rId4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s://databricks.com/blog/2017/07/12/benchmarking-big-data-sql-platforms-in-the-cloud.html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9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bricks.com/spark/certification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hyperlink" Target="https://databricks.com/product/databricks-delta" TargetMode="External"/><Relationship Id="rId4" Type="http://schemas.openxmlformats.org/officeDocument/2006/relationships/hyperlink" Target="https://databricks.com/product/unified-analytics-platform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269302" y="2918854"/>
            <a:ext cx="6286619" cy="2167496"/>
          </a:xfrm>
          <a:prstGeom prst="rect">
            <a:avLst/>
          </a:prstGeom>
          <a:noFill/>
        </p:spPr>
        <p:txBody>
          <a:bodyPr vert="horz" wrap="square" lIns="143428" tIns="89642" rIns="143428" bIns="89642" rtlCol="0" anchor="t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0" baseline="0">
                <a:ln w="3175">
                  <a:noFill/>
                </a:ln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 defTabSz="914367">
              <a:defRPr/>
            </a:pPr>
            <a:r>
              <a:rPr kumimoji="0" lang="en-US" sz="4000" b="0" i="0" u="none" strike="noStrike" kern="1200" cap="none" spc="-98" normalizeH="0" baseline="0" noProof="0" dirty="0">
                <a:ln w="3175">
                  <a:noFill/>
                </a:ln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zure Databricks Overview</a:t>
            </a:r>
          </a:p>
          <a:p>
            <a:pPr lvl="0" defTabSz="914367">
              <a:defRPr/>
            </a:pPr>
            <a:r>
              <a:rPr kumimoji="0" lang="en-US" sz="4000" b="0" i="0" u="none" strike="noStrike" kern="1200" cap="none" spc="-98" normalizeH="0" baseline="0" noProof="0" dirty="0">
                <a:ln w="3175">
                  <a:noFill/>
                </a:ln>
                <a:gradFill>
                  <a:gsLst>
                    <a:gs pos="130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 </a:t>
            </a:r>
            <a:endParaRPr lang="en-US" sz="2800" i="1" spc="-98" dirty="0">
              <a:latin typeface="Segoe UI Light"/>
            </a:endParaRPr>
          </a:p>
          <a:p>
            <a:pPr lvl="0" defTabSz="914367">
              <a:defRPr/>
            </a:pPr>
            <a:r>
              <a:rPr lang="en-US" sz="2400" i="1" spc="-98" dirty="0">
                <a:latin typeface="Segoe UI Light"/>
              </a:rPr>
              <a:t>Daniel Wang</a:t>
            </a:r>
          </a:p>
          <a:p>
            <a:pPr lvl="0" defTabSz="914367">
              <a:defRPr/>
            </a:pPr>
            <a:r>
              <a:rPr lang="en-US" sz="2400" i="1" spc="-98" dirty="0">
                <a:latin typeface="Segoe UI Light"/>
              </a:rPr>
              <a:t>Cloud Solutions Architect</a:t>
            </a:r>
          </a:p>
          <a:p>
            <a:pPr lvl="0" defTabSz="914367">
              <a:defRPr/>
            </a:pPr>
            <a:endParaRPr kumimoji="0" lang="en-US" sz="1600" b="0" i="1" u="none" strike="noStrike" kern="1200" cap="none" spc="-98" normalizeH="0" baseline="0" noProof="0" dirty="0">
              <a:ln w="3175">
                <a:noFill/>
              </a:ln>
              <a:gradFill>
                <a:gsLst>
                  <a:gs pos="1307">
                    <a:srgbClr val="353535"/>
                  </a:gs>
                  <a:gs pos="30000">
                    <a:srgbClr val="353535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03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3A7421-6E88-4164-8A25-628D664D3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715919"/>
          </a:xfrm>
        </p:spPr>
        <p:txBody>
          <a:bodyPr/>
          <a:lstStyle/>
          <a:p>
            <a:r>
              <a:rPr lang="en-US" sz="5400" dirty="0">
                <a:solidFill>
                  <a:schemeClr val="tx1"/>
                </a:solidFill>
              </a:rPr>
              <a:t>Azur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5400" dirty="0" err="1">
                <a:solidFill>
                  <a:schemeClr val="tx1"/>
                </a:solidFill>
              </a:rPr>
              <a:t>Databricks</a:t>
            </a:r>
            <a:br>
              <a:rPr lang="en-US" sz="5400" dirty="0">
                <a:solidFill>
                  <a:schemeClr val="tx1"/>
                </a:solidFill>
              </a:rPr>
            </a:br>
            <a:r>
              <a:rPr lang="en-US" sz="4000" dirty="0">
                <a:solidFill>
                  <a:schemeClr val="tx1"/>
                </a:solidFill>
              </a:rPr>
              <a:t>Core Concepts</a:t>
            </a:r>
            <a:endParaRPr lang="en-US" sz="5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90567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854AF3-0EF9-4088-8CD7-81189AD34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519" y="202985"/>
            <a:ext cx="11655840" cy="899665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Provisioning Azure </a:t>
            </a:r>
            <a:r>
              <a:rPr lang="en-US" sz="2400" cap="all" spc="800" dirty="0" err="1">
                <a:solidFill>
                  <a:srgbClr val="0078D7"/>
                </a:solidFill>
                <a:latin typeface="Segoe UI Light" charset="0"/>
                <a:cs typeface="Segoe UI Light" charset="0"/>
              </a:rPr>
              <a:t>Databricks</a:t>
            </a: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 WORKSPAC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52A250-8D19-4909-B161-914D5E182D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8873" y="1060595"/>
            <a:ext cx="4446471" cy="2663480"/>
          </a:xfrm>
          <a:prstGeom prst="rect">
            <a:avLst/>
          </a:prstGeom>
          <a:ln>
            <a:solidFill>
              <a:schemeClr val="accent6">
                <a:lumMod val="90000"/>
              </a:schemeClr>
            </a:solidFill>
          </a:ln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6EE0168-1886-4796-8AE3-7ACE9BCFFF35}"/>
              </a:ext>
            </a:extLst>
          </p:cNvPr>
          <p:cNvSpPr txBox="1">
            <a:spLocks/>
          </p:cNvSpPr>
          <p:nvPr/>
        </p:nvSpPr>
        <p:spPr>
          <a:xfrm>
            <a:off x="153519" y="1865813"/>
            <a:ext cx="5098613" cy="3067979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Azure Databricks is provisioned directly from the Azure Portal like any other Azure service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In contrast, with other clouds, it has to be provisioned through the Databricks portal.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With Azure Databricks, the Azure Portal offers a unified portal to provision and administer Azure Databricks as well as other Azure services.</a:t>
            </a:r>
          </a:p>
          <a:p>
            <a:pPr marL="285750" lvl="1" indent="-28575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Any Azure user with the appropriate subscription and authorization can provision Azure Databricks service*.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There is no need for a separate Databricks accoun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041A851-891E-42AD-952F-D71BAE5C863E}"/>
              </a:ext>
            </a:extLst>
          </p:cNvPr>
          <p:cNvGrpSpPr/>
          <p:nvPr/>
        </p:nvGrpSpPr>
        <p:grpSpPr>
          <a:xfrm>
            <a:off x="7181803" y="3774271"/>
            <a:ext cx="4474037" cy="2853141"/>
            <a:chOff x="6263451" y="3909771"/>
            <a:chExt cx="3977983" cy="259049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1124C-F5D8-47B0-92CC-30C606ACD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63451" y="3909771"/>
              <a:ext cx="3977983" cy="2590493"/>
            </a:xfrm>
            <a:prstGeom prst="rect">
              <a:avLst/>
            </a:prstGeom>
            <a:ln>
              <a:solidFill>
                <a:schemeClr val="accent6">
                  <a:lumMod val="90000"/>
                </a:schemeClr>
              </a:solidFill>
            </a:ln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32C70D-3589-400A-9EAF-7A384E0FC15A}"/>
                </a:ext>
              </a:extLst>
            </p:cNvPr>
            <p:cNvSpPr/>
            <p:nvPr/>
          </p:nvSpPr>
          <p:spPr bwMode="auto">
            <a:xfrm>
              <a:off x="9402218" y="3909771"/>
              <a:ext cx="634180" cy="182544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EE3C215-3CC0-461D-9C95-4E02C483A6A1}"/>
              </a:ext>
            </a:extLst>
          </p:cNvPr>
          <p:cNvSpPr txBox="1"/>
          <p:nvPr/>
        </p:nvSpPr>
        <p:spPr>
          <a:xfrm>
            <a:off x="10065344" y="2028620"/>
            <a:ext cx="1430553" cy="7109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i="1" dirty="0">
                <a:latin typeface="+mn-lt"/>
              </a:rPr>
              <a:t>Provisioning the Azure Databricks Serv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047BB-1018-4A02-9F32-A60E98D7D3A3}"/>
              </a:ext>
            </a:extLst>
          </p:cNvPr>
          <p:cNvSpPr txBox="1"/>
          <p:nvPr/>
        </p:nvSpPr>
        <p:spPr>
          <a:xfrm>
            <a:off x="5827920" y="4914609"/>
            <a:ext cx="1434814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After provisioning the is comple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56DD0C-527A-49E5-8A1A-615D4E191558}"/>
              </a:ext>
            </a:extLst>
          </p:cNvPr>
          <p:cNvSpPr/>
          <p:nvPr/>
        </p:nvSpPr>
        <p:spPr>
          <a:xfrm>
            <a:off x="73152" y="6488912"/>
            <a:ext cx="5813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2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200" i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cs typeface="Segoe UI Semibold" panose="020B0702040204020203" pitchFamily="34" charset="0"/>
              </a:rPr>
              <a:t>* During the current preview phase, the subscription has to be whitelisted.</a:t>
            </a:r>
          </a:p>
        </p:txBody>
      </p:sp>
    </p:spTree>
    <p:extLst>
      <p:ext uri="{BB962C8B-B14F-4D97-AF65-F5344CB8AC3E}">
        <p14:creationId xmlns:p14="http://schemas.microsoft.com/office/powerpoint/2010/main" val="294261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BB375-F828-43BF-A2F1-354614868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Workspa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A65DDF-33F1-469E-A59B-63C4785A9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Workspaces enables users to organize—and share—their Notebooks, Libraries and Dashboard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80ECB6-1222-4FE4-863A-BCE4A7FA5233}"/>
              </a:ext>
            </a:extLst>
          </p:cNvPr>
          <p:cNvSpPr txBox="1"/>
          <p:nvPr/>
        </p:nvSpPr>
        <p:spPr>
          <a:xfrm>
            <a:off x="175499" y="1942667"/>
            <a:ext cx="5265181" cy="400725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558686" lvl="1" indent="-448193" defTabSz="913770" fontAlgn="base">
              <a:lnSpc>
                <a:spcPct val="90000"/>
              </a:lnSpc>
              <a:spcBef>
                <a:spcPts val="588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  <a:buBlip>
                <a:blip r:embed="rId3"/>
              </a:buBlip>
              <a:tabLst>
                <a:tab pos="645523" algn="l"/>
              </a:tabLst>
              <a:defRPr sz="280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defRPr>
            </a:lvl2pPr>
          </a:lstStyle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Workspaces—sort of like Directories— are a convenient way to organize a user’s Notebook, Libraries and Dashboards.</a:t>
            </a:r>
          </a:p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Everything in a workspace is organized into hierarchical folders. Folders can hold Libraries, Notebooks, Dashboard or more (sub) folders.</a:t>
            </a:r>
          </a:p>
          <a:p>
            <a:pPr marL="822960" lvl="2" indent="-274320" defTabSz="8957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cons indicate the type of the object contained in a folder</a:t>
            </a:r>
          </a:p>
          <a:p>
            <a:pPr marL="547680" lvl="1" indent="-439364" defTabSz="895769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Every user has one directory that is private and unshared.</a:t>
            </a:r>
          </a:p>
          <a:p>
            <a:pPr marL="822960" lvl="2" indent="-274320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default, the workspace and all its contents are available to users.</a:t>
            </a:r>
          </a:p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Fine grained access control can be defined on workspaces to enable </a:t>
            </a:r>
            <a:r>
              <a:rPr lang="en-US" sz="1600" i="1" dirty="0">
                <a:latin typeface="Segoe UI" panose="020B0502040204020203" pitchFamily="34" charset="0"/>
              </a:rPr>
              <a:t>secure collaboration with colleague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AF4782-84E8-4B69-B0DE-3495AD8F96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6600" y="1520924"/>
            <a:ext cx="4175760" cy="3318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039C94-4938-421F-97B8-0C0B29814A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6600" y="5071192"/>
            <a:ext cx="2863215" cy="142518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043611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F24FD57-A5B0-4631-A64C-61D5452B6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94A7F1-CF57-4BBA-8852-31F3AD147112}"/>
              </a:ext>
            </a:extLst>
          </p:cNvPr>
          <p:cNvSpPr/>
          <p:nvPr/>
        </p:nvSpPr>
        <p:spPr>
          <a:xfrm>
            <a:off x="556374" y="2364297"/>
            <a:ext cx="6190707" cy="29569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clusters are the set of Azure Linux VMs that host the Spark Worker and Driver Nodes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r Spark application code (i.e. Jobs) runs on the provisioned clusters. 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clusters are launched in your subscription—but are managed through the Azure Databricks portal.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provides a comprehensive set of graphical wizards to manage the complete lifecycle of clusters—from creation to termination. </a:t>
            </a:r>
          </a:p>
        </p:txBody>
      </p:sp>
      <p:pic>
        <p:nvPicPr>
          <p:cNvPr id="2050" name="Picture 2" descr="https://openclipart.org/image/2400px/svg_to_png/166415/cluster.png">
            <a:extLst>
              <a:ext uri="{FF2B5EF4-FFF2-40B4-BE49-F238E27FC236}">
                <a16:creationId xmlns:a16="http://schemas.microsoft.com/office/drawing/2014/main" id="{656F24EA-C2F3-44DD-B529-A72376582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236" y="2557426"/>
            <a:ext cx="2444086" cy="2444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11E6644-0DC9-48D5-9075-A96D9D5C8A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9371" y="4220240"/>
            <a:ext cx="331503" cy="271529"/>
          </a:xfrm>
          <a:prstGeom prst="rect">
            <a:avLst/>
          </a:prstGeom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609A02-AF20-4C27-91DD-44E9BEB9C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0969" y="4220239"/>
            <a:ext cx="331503" cy="271529"/>
          </a:xfrm>
          <a:prstGeom prst="rect">
            <a:avLst/>
          </a:prstGeom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74D4A8C-7463-42C5-8983-F42799FE65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2567" y="4220238"/>
            <a:ext cx="331503" cy="27152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226959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5B483-C4A5-43A6-A27E-87B30F6DA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Notebooks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9DAE53-8551-4C86-8BE0-E30F798F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Notebooks are a popular way to develop, and run, Spark Applic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0F6E7C-E781-4447-8D39-C95E6CD6C3B3}"/>
              </a:ext>
            </a:extLst>
          </p:cNvPr>
          <p:cNvSpPr/>
          <p:nvPr/>
        </p:nvSpPr>
        <p:spPr>
          <a:xfrm>
            <a:off x="0" y="2075272"/>
            <a:ext cx="6095999" cy="3377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are not only for authoring Spark applications but can be </a:t>
            </a:r>
            <a:r>
              <a:rPr lang="en-US" sz="1600" i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un/executed directly 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n clusters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1400" dirty="0">
                <a:solidFill>
                  <a:srgbClr val="E74C3C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hift+Enter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ck the    at the top right of the cell in a notebook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ubmit via Job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support fine grained permissions—so they can be </a:t>
            </a:r>
            <a:r>
              <a:rPr lang="en-US" sz="1600" i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ecurely shared 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ith colleagues for collaboration (see following slide for details on permissions and abilities)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are well-suited for prototyping, rapid development, exploration, discovery and iterative development</a:t>
            </a:r>
          </a:p>
        </p:txBody>
      </p:sp>
      <p:pic>
        <p:nvPicPr>
          <p:cNvPr id="11266" name="Picture 2" descr="Figure 5">
            <a:extLst>
              <a:ext uri="{FF2B5EF4-FFF2-40B4-BE49-F238E27FC236}">
                <a16:creationId xmlns:a16="http://schemas.microsoft.com/office/drawing/2014/main" id="{F0C5A1E9-7074-40A0-A6C5-CB63B702AE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514" y="2099117"/>
            <a:ext cx="5244294" cy="304722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13F144A-956F-4CE2-90E5-E9C29B27EFD3}"/>
              </a:ext>
            </a:extLst>
          </p:cNvPr>
          <p:cNvSpPr/>
          <p:nvPr/>
        </p:nvSpPr>
        <p:spPr>
          <a:xfrm>
            <a:off x="6305380" y="5146339"/>
            <a:ext cx="56295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1920" lvl="1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200" dirty="0">
                <a:latin typeface="Segoe UI" panose="020B0502040204020203" pitchFamily="34" charset="0"/>
              </a:rPr>
              <a:t>Notebooks typically consist of code, data, visualization, comments and not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4C070DB-F3AD-4F42-B025-DDFEB001F09D}"/>
              </a:ext>
            </a:extLst>
          </p:cNvPr>
          <p:cNvGrpSpPr/>
          <p:nvPr/>
        </p:nvGrpSpPr>
        <p:grpSpPr>
          <a:xfrm>
            <a:off x="1839028" y="3110957"/>
            <a:ext cx="180975" cy="209550"/>
            <a:chOff x="2029860" y="5410831"/>
            <a:chExt cx="180975" cy="2095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5231046-9CCD-41AB-8203-9DD830FB0C48}"/>
                </a:ext>
              </a:extLst>
            </p:cNvPr>
            <p:cNvSpPr/>
            <p:nvPr/>
          </p:nvSpPr>
          <p:spPr bwMode="auto">
            <a:xfrm>
              <a:off x="2029860" y="5410831"/>
              <a:ext cx="180975" cy="20955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9E6C537-DF3E-4D33-88C0-D5F3D7F85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9860" y="5410831"/>
              <a:ext cx="180975" cy="2095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15386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E5627-74EA-4A41-9EE9-A0A224CA2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Job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B5CD51-8175-4294-8317-894084FADA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Jobs are the mechanism to submit Spark application code for execution on the Databricks clusters</a:t>
            </a:r>
          </a:p>
        </p:txBody>
      </p:sp>
      <p:pic>
        <p:nvPicPr>
          <p:cNvPr id="6148" name="Picture 4" descr="https://www.wheelock.edu/Images/Career%20Services/Calendar%20icon.png">
            <a:extLst>
              <a:ext uri="{FF2B5EF4-FFF2-40B4-BE49-F238E27FC236}">
                <a16:creationId xmlns:a16="http://schemas.microsoft.com/office/drawing/2014/main" id="{4E95A689-67E5-4546-960B-B731E0C3B7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5224" y="1863147"/>
            <a:ext cx="3666581" cy="3666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C9403D-5101-4D0F-9E25-CF5E5E47D6CA}"/>
              </a:ext>
            </a:extLst>
          </p:cNvPr>
          <p:cNvSpPr txBox="1">
            <a:spLocks/>
          </p:cNvSpPr>
          <p:nvPr/>
        </p:nvSpPr>
        <p:spPr>
          <a:xfrm>
            <a:off x="420195" y="2898033"/>
            <a:ext cx="5950377" cy="1596807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park application code is submitted as a ‘Job’ for execution on Azure Databricks clusters</a:t>
            </a:r>
          </a:p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obs execute either ‘Notebooks’ or ‘Jars’ </a:t>
            </a:r>
          </a:p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provide a comprehensive set of graphical tools to create, manage and monitor Jobs.</a:t>
            </a:r>
          </a:p>
        </p:txBody>
      </p:sp>
    </p:spTree>
    <p:extLst>
      <p:ext uri="{BB962C8B-B14F-4D97-AF65-F5344CB8AC3E}">
        <p14:creationId xmlns:p14="http://schemas.microsoft.com/office/powerpoint/2010/main" val="189442810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705D9EB-E816-4500-914A-ECC5F1B57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Databricks File System (DBFS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147CE3-51B0-4793-B13C-C61791D104C0}"/>
              </a:ext>
            </a:extLst>
          </p:cNvPr>
          <p:cNvSpPr/>
          <p:nvPr/>
        </p:nvSpPr>
        <p:spPr>
          <a:xfrm>
            <a:off x="125685" y="980894"/>
            <a:ext cx="11861994" cy="461665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spAutoFit/>
          </a:bodyPr>
          <a:lstStyle/>
          <a:p>
            <a:pPr algn="ctr" defTabSz="914192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2000" dirty="0">
                <a:solidFill>
                  <a:schemeClr val="tx2"/>
                </a:solidFill>
                <a:cs typeface="Segoe UI Semilight" panose="020B0402040204020203" pitchFamily="34" charset="0"/>
              </a:rPr>
              <a:t>Is a distributed File System (DBFS) that is a layer over Azure Blob Storage  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6E491D-E49C-4414-969B-0A9C292B55D0}"/>
              </a:ext>
            </a:extLst>
          </p:cNvPr>
          <p:cNvSpPr txBox="1">
            <a:spLocks/>
          </p:cNvSpPr>
          <p:nvPr/>
        </p:nvSpPr>
        <p:spPr>
          <a:xfrm>
            <a:off x="30019" y="2575141"/>
            <a:ext cx="7172063" cy="2723269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895769" fontAlgn="base">
              <a:spcBef>
                <a:spcPts val="588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Storage buckets can be mounted in DBFS so that users can directly access them without specifying the storage keys</a:t>
            </a:r>
          </a:p>
          <a:p>
            <a:pPr marL="285750" lvl="3" indent="-285750" defTabSz="895769" fontAlgn="base">
              <a:spcBef>
                <a:spcPts val="588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BFS mounts are created using </a:t>
            </a:r>
            <a:r>
              <a:rPr lang="en-US" sz="1600" i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butils.fs.mount()</a:t>
            </a:r>
          </a:p>
          <a:p>
            <a:pPr marL="285750" lvl="1" indent="-285750" defTabSz="895769" fontAlgn="base">
              <a:spcBef>
                <a:spcPts val="588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Storage data can be cached locally on the SSD of the worker nodes</a:t>
            </a:r>
          </a:p>
          <a:p>
            <a:pPr marL="285750" lvl="1" indent="-285750" defTabSz="895769" fontAlgn="base">
              <a:spcBef>
                <a:spcPts val="588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vailable in both Python and Scala and accessible via a DBFS CLI</a:t>
            </a:r>
          </a:p>
          <a:p>
            <a:pPr marL="285750" lvl="1" indent="-285750" defTabSz="895769" fontAlgn="base">
              <a:spcBef>
                <a:spcPts val="588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 persist in Azure Blob Storage – is not lost even after cluster termination</a:t>
            </a:r>
          </a:p>
          <a:p>
            <a:pPr marL="285750" lvl="1" indent="-285750" defTabSz="895769" fontAlgn="base">
              <a:spcBef>
                <a:spcPts val="588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35353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mes pre-installed on Spark clusters in Databric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544E89-1F70-4361-9D0A-BEC73FF2EA27}"/>
              </a:ext>
            </a:extLst>
          </p:cNvPr>
          <p:cNvSpPr/>
          <p:nvPr/>
        </p:nvSpPr>
        <p:spPr bwMode="auto">
          <a:xfrm>
            <a:off x="8234446" y="5503286"/>
            <a:ext cx="3385764" cy="58993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Azure Blob Stora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677962A-AAE1-4D1C-AD1F-4093B36172AF}"/>
              </a:ext>
            </a:extLst>
          </p:cNvPr>
          <p:cNvSpPr/>
          <p:nvPr/>
        </p:nvSpPr>
        <p:spPr bwMode="auto">
          <a:xfrm>
            <a:off x="8234446" y="2846119"/>
            <a:ext cx="3385764" cy="180421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Arrow: Up-Down 15">
            <a:extLst>
              <a:ext uri="{FF2B5EF4-FFF2-40B4-BE49-F238E27FC236}">
                <a16:creationId xmlns:a16="http://schemas.microsoft.com/office/drawing/2014/main" id="{E103306F-9F36-4DCE-AA52-7D41807B77EE}"/>
              </a:ext>
            </a:extLst>
          </p:cNvPr>
          <p:cNvSpPr/>
          <p:nvPr/>
        </p:nvSpPr>
        <p:spPr bwMode="auto">
          <a:xfrm>
            <a:off x="8472292" y="4663857"/>
            <a:ext cx="405581" cy="825909"/>
          </a:xfrm>
          <a:prstGeom prst="up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Arrow: Up-Down 16">
            <a:extLst>
              <a:ext uri="{FF2B5EF4-FFF2-40B4-BE49-F238E27FC236}">
                <a16:creationId xmlns:a16="http://schemas.microsoft.com/office/drawing/2014/main" id="{F5662A98-F9F5-4F76-9B20-1193F3B881DA}"/>
              </a:ext>
            </a:extLst>
          </p:cNvPr>
          <p:cNvSpPr/>
          <p:nvPr/>
        </p:nvSpPr>
        <p:spPr bwMode="auto">
          <a:xfrm>
            <a:off x="9724538" y="4650338"/>
            <a:ext cx="405581" cy="825909"/>
          </a:xfrm>
          <a:prstGeom prst="up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Arrow: Up-Down 17">
            <a:extLst>
              <a:ext uri="{FF2B5EF4-FFF2-40B4-BE49-F238E27FC236}">
                <a16:creationId xmlns:a16="http://schemas.microsoft.com/office/drawing/2014/main" id="{86A0F8FF-C337-4F8A-AA4B-C04D9E4CB71D}"/>
              </a:ext>
            </a:extLst>
          </p:cNvPr>
          <p:cNvSpPr/>
          <p:nvPr/>
        </p:nvSpPr>
        <p:spPr bwMode="auto">
          <a:xfrm>
            <a:off x="11037950" y="4650338"/>
            <a:ext cx="405581" cy="825909"/>
          </a:xfrm>
          <a:prstGeom prst="up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0BE4749-398B-4DE6-B7D7-C0C5A8EB36F9}"/>
              </a:ext>
            </a:extLst>
          </p:cNvPr>
          <p:cNvGrpSpPr/>
          <p:nvPr/>
        </p:nvGrpSpPr>
        <p:grpSpPr>
          <a:xfrm>
            <a:off x="8627707" y="3007126"/>
            <a:ext cx="2599242" cy="1460088"/>
            <a:chOff x="6301248" y="2669458"/>
            <a:chExt cx="2599242" cy="146008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4086E7F-08CF-4DD0-A7CD-1A38CE2245ED}"/>
                </a:ext>
              </a:extLst>
            </p:cNvPr>
            <p:cNvSpPr/>
            <p:nvPr/>
          </p:nvSpPr>
          <p:spPr bwMode="auto">
            <a:xfrm>
              <a:off x="7462684" y="2669458"/>
              <a:ext cx="258097" cy="287594"/>
            </a:xfrm>
            <a:prstGeom prst="ellipse">
              <a:avLst/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B8F5D90-C8D7-44D9-B8A6-A6FAE7B941C3}"/>
                </a:ext>
              </a:extLst>
            </p:cNvPr>
            <p:cNvSpPr/>
            <p:nvPr/>
          </p:nvSpPr>
          <p:spPr bwMode="auto">
            <a:xfrm>
              <a:off x="6752917" y="3163527"/>
              <a:ext cx="258097" cy="287594"/>
            </a:xfrm>
            <a:prstGeom prst="ellipse">
              <a:avLst/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4A518C9-5A7D-4F5C-91B6-FB4439389EA7}"/>
                </a:ext>
              </a:extLst>
            </p:cNvPr>
            <p:cNvSpPr/>
            <p:nvPr/>
          </p:nvSpPr>
          <p:spPr bwMode="auto">
            <a:xfrm>
              <a:off x="8281219" y="3163527"/>
              <a:ext cx="258097" cy="287594"/>
            </a:xfrm>
            <a:prstGeom prst="ellipse">
              <a:avLst/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D52ECB3E-0F5F-4267-9F91-9E7FCFADF154}"/>
                </a:ext>
              </a:extLst>
            </p:cNvPr>
            <p:cNvSpPr/>
            <p:nvPr/>
          </p:nvSpPr>
          <p:spPr bwMode="auto">
            <a:xfrm>
              <a:off x="6301248" y="3841952"/>
              <a:ext cx="258097" cy="287594"/>
            </a:xfrm>
            <a:prstGeom prst="ellipse">
              <a:avLst/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A00DCE0-DBC0-40E6-9CFE-70B54167983B}"/>
                </a:ext>
              </a:extLst>
            </p:cNvPr>
            <p:cNvSpPr/>
            <p:nvPr/>
          </p:nvSpPr>
          <p:spPr bwMode="auto">
            <a:xfrm>
              <a:off x="6752917" y="3841952"/>
              <a:ext cx="258097" cy="287594"/>
            </a:xfrm>
            <a:prstGeom prst="ellipse">
              <a:avLst/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03A50E7-98CF-4059-9566-52141D9B60CB}"/>
                </a:ext>
              </a:extLst>
            </p:cNvPr>
            <p:cNvSpPr/>
            <p:nvPr/>
          </p:nvSpPr>
          <p:spPr bwMode="auto">
            <a:xfrm>
              <a:off x="7243301" y="3841952"/>
              <a:ext cx="258097" cy="287594"/>
            </a:xfrm>
            <a:prstGeom prst="ellipse">
              <a:avLst/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1677563-D92F-43B4-9D06-776BD3A6D849}"/>
                </a:ext>
              </a:extLst>
            </p:cNvPr>
            <p:cNvSpPr/>
            <p:nvPr/>
          </p:nvSpPr>
          <p:spPr bwMode="auto">
            <a:xfrm>
              <a:off x="8001000" y="3841952"/>
              <a:ext cx="258097" cy="287594"/>
            </a:xfrm>
            <a:prstGeom prst="ellipse">
              <a:avLst/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CCF9CD4-875B-4BE2-A60E-CBC389DC2E17}"/>
                </a:ext>
              </a:extLst>
            </p:cNvPr>
            <p:cNvSpPr/>
            <p:nvPr/>
          </p:nvSpPr>
          <p:spPr bwMode="auto">
            <a:xfrm>
              <a:off x="8642393" y="3841952"/>
              <a:ext cx="258097" cy="287594"/>
            </a:xfrm>
            <a:prstGeom prst="ellipse">
              <a:avLst/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D6604E5F-0B8D-442C-A0B3-A11AC871EC43}"/>
                </a:ext>
              </a:extLst>
            </p:cNvPr>
            <p:cNvCxnSpPr>
              <a:cxnSpLocks/>
              <a:stCxn id="19" idx="2"/>
              <a:endCxn id="20" idx="0"/>
            </p:cNvCxnSpPr>
            <p:nvPr/>
          </p:nvCxnSpPr>
          <p:spPr>
            <a:xfrm flipH="1">
              <a:off x="6881966" y="2813255"/>
              <a:ext cx="580718" cy="350272"/>
            </a:xfrm>
            <a:prstGeom prst="line">
              <a:avLst/>
            </a:prstGeom>
            <a:grpFill/>
            <a:ln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C97EEF64-B674-436D-AD36-EDD3DEE04425}"/>
                </a:ext>
              </a:extLst>
            </p:cNvPr>
            <p:cNvCxnSpPr>
              <a:stCxn id="19" idx="6"/>
              <a:endCxn id="21" idx="0"/>
            </p:cNvCxnSpPr>
            <p:nvPr/>
          </p:nvCxnSpPr>
          <p:spPr>
            <a:xfrm>
              <a:off x="7720781" y="2813255"/>
              <a:ext cx="689487" cy="350272"/>
            </a:xfrm>
            <a:prstGeom prst="line">
              <a:avLst/>
            </a:prstGeom>
            <a:grpFill/>
            <a:ln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64160B2-C15B-4EE7-ACE0-580E6837958E}"/>
                </a:ext>
              </a:extLst>
            </p:cNvPr>
            <p:cNvCxnSpPr>
              <a:stCxn id="20" idx="4"/>
              <a:endCxn id="22" idx="0"/>
            </p:cNvCxnSpPr>
            <p:nvPr/>
          </p:nvCxnSpPr>
          <p:spPr>
            <a:xfrm flipH="1">
              <a:off x="6430297" y="3451121"/>
              <a:ext cx="451669" cy="390831"/>
            </a:xfrm>
            <a:prstGeom prst="line">
              <a:avLst/>
            </a:prstGeom>
            <a:grpFill/>
            <a:ln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D220DA15-92D5-4219-9F65-DA83175C245A}"/>
                </a:ext>
              </a:extLst>
            </p:cNvPr>
            <p:cNvCxnSpPr>
              <a:stCxn id="20" idx="4"/>
              <a:endCxn id="23" idx="0"/>
            </p:cNvCxnSpPr>
            <p:nvPr/>
          </p:nvCxnSpPr>
          <p:spPr>
            <a:xfrm>
              <a:off x="6881966" y="3451121"/>
              <a:ext cx="0" cy="390831"/>
            </a:xfrm>
            <a:prstGeom prst="line">
              <a:avLst/>
            </a:prstGeom>
            <a:grpFill/>
            <a:ln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DFC794F1-17B6-428D-A027-36C549431342}"/>
                </a:ext>
              </a:extLst>
            </p:cNvPr>
            <p:cNvCxnSpPr>
              <a:stCxn id="20" idx="4"/>
              <a:endCxn id="24" idx="0"/>
            </p:cNvCxnSpPr>
            <p:nvPr/>
          </p:nvCxnSpPr>
          <p:spPr>
            <a:xfrm>
              <a:off x="6881966" y="3451121"/>
              <a:ext cx="490384" cy="390831"/>
            </a:xfrm>
            <a:prstGeom prst="line">
              <a:avLst/>
            </a:prstGeom>
            <a:grpFill/>
            <a:ln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99DC1DD-99D0-403A-B98D-7D57DFD14D85}"/>
                </a:ext>
              </a:extLst>
            </p:cNvPr>
            <p:cNvCxnSpPr>
              <a:stCxn id="21" idx="4"/>
              <a:endCxn id="26" idx="0"/>
            </p:cNvCxnSpPr>
            <p:nvPr/>
          </p:nvCxnSpPr>
          <p:spPr>
            <a:xfrm flipH="1">
              <a:off x="8130049" y="3451121"/>
              <a:ext cx="280219" cy="390831"/>
            </a:xfrm>
            <a:prstGeom prst="line">
              <a:avLst/>
            </a:prstGeom>
            <a:grpFill/>
            <a:ln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991253B2-5C24-4D1B-A585-FC922A0382AD}"/>
                </a:ext>
              </a:extLst>
            </p:cNvPr>
            <p:cNvCxnSpPr>
              <a:stCxn id="21" idx="4"/>
              <a:endCxn id="27" idx="0"/>
            </p:cNvCxnSpPr>
            <p:nvPr/>
          </p:nvCxnSpPr>
          <p:spPr>
            <a:xfrm>
              <a:off x="8410268" y="3451121"/>
              <a:ext cx="361174" cy="390831"/>
            </a:xfrm>
            <a:prstGeom prst="line">
              <a:avLst/>
            </a:prstGeom>
            <a:grpFill/>
            <a:ln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12256B0-A2A8-4039-9B6F-89B5F7481042}"/>
              </a:ext>
            </a:extLst>
          </p:cNvPr>
          <p:cNvSpPr/>
          <p:nvPr/>
        </p:nvSpPr>
        <p:spPr bwMode="auto">
          <a:xfrm>
            <a:off x="8193970" y="2052875"/>
            <a:ext cx="645978" cy="451352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/>
              <a:t>Python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97C562A0-0323-464A-B6BD-DA88B2058DA6}"/>
              </a:ext>
            </a:extLst>
          </p:cNvPr>
          <p:cNvSpPr/>
          <p:nvPr/>
        </p:nvSpPr>
        <p:spPr bwMode="auto">
          <a:xfrm>
            <a:off x="9081291" y="2052875"/>
            <a:ext cx="645978" cy="451352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/>
              <a:t>Scala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65DFE108-00FC-4A02-88B9-CA6B9B9ADF53}"/>
              </a:ext>
            </a:extLst>
          </p:cNvPr>
          <p:cNvSpPr/>
          <p:nvPr/>
        </p:nvSpPr>
        <p:spPr bwMode="auto">
          <a:xfrm>
            <a:off x="10047655" y="2052875"/>
            <a:ext cx="645978" cy="451352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/>
              <a:t>CLI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2028C04E-43A4-4E80-9D10-7704236EA16E}"/>
              </a:ext>
            </a:extLst>
          </p:cNvPr>
          <p:cNvSpPr/>
          <p:nvPr/>
        </p:nvSpPr>
        <p:spPr bwMode="auto">
          <a:xfrm>
            <a:off x="10855440" y="2052875"/>
            <a:ext cx="645978" cy="451352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/>
              <a:t>dbutils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C997A73-DF4C-4436-A652-C6F97E487CF4}"/>
              </a:ext>
            </a:extLst>
          </p:cNvPr>
          <p:cNvCxnSpPr>
            <a:stCxn id="45" idx="2"/>
          </p:cNvCxnSpPr>
          <p:nvPr/>
        </p:nvCxnSpPr>
        <p:spPr>
          <a:xfrm>
            <a:off x="8516959" y="2504227"/>
            <a:ext cx="0" cy="341892"/>
          </a:xfrm>
          <a:prstGeom prst="straightConnector1">
            <a:avLst/>
          </a:prstGeom>
          <a:ln w="38100">
            <a:solidFill>
              <a:schemeClr val="tx1">
                <a:lumMod val="60000"/>
                <a:lumOff val="4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707271B-1519-4EAC-88C0-F778DFD9943E}"/>
              </a:ext>
            </a:extLst>
          </p:cNvPr>
          <p:cNvCxnSpPr/>
          <p:nvPr/>
        </p:nvCxnSpPr>
        <p:spPr>
          <a:xfrm>
            <a:off x="9416749" y="2504227"/>
            <a:ext cx="0" cy="341892"/>
          </a:xfrm>
          <a:prstGeom prst="straightConnector1">
            <a:avLst/>
          </a:prstGeom>
          <a:ln w="38100">
            <a:solidFill>
              <a:schemeClr val="tx1">
                <a:lumMod val="60000"/>
                <a:lumOff val="4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4FBA18E4-8EE7-45AF-AA5D-2C7D628F750F}"/>
              </a:ext>
            </a:extLst>
          </p:cNvPr>
          <p:cNvCxnSpPr/>
          <p:nvPr/>
        </p:nvCxnSpPr>
        <p:spPr>
          <a:xfrm>
            <a:off x="10368503" y="2504227"/>
            <a:ext cx="0" cy="341892"/>
          </a:xfrm>
          <a:prstGeom prst="straightConnector1">
            <a:avLst/>
          </a:prstGeom>
          <a:ln w="38100">
            <a:solidFill>
              <a:schemeClr val="tx1">
                <a:lumMod val="60000"/>
                <a:lumOff val="4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28ABCA6-C313-4E14-83EE-DC11BF4D7168}"/>
              </a:ext>
            </a:extLst>
          </p:cNvPr>
          <p:cNvCxnSpPr/>
          <p:nvPr/>
        </p:nvCxnSpPr>
        <p:spPr>
          <a:xfrm>
            <a:off x="11178429" y="2504227"/>
            <a:ext cx="0" cy="341892"/>
          </a:xfrm>
          <a:prstGeom prst="straightConnector1">
            <a:avLst/>
          </a:prstGeom>
          <a:ln w="38100">
            <a:solidFill>
              <a:schemeClr val="tx1">
                <a:lumMod val="60000"/>
                <a:lumOff val="4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DEF07250-DE46-4EAE-B8E6-E80CE86CE8D9}"/>
              </a:ext>
            </a:extLst>
          </p:cNvPr>
          <p:cNvSpPr txBox="1"/>
          <p:nvPr/>
        </p:nvSpPr>
        <p:spPr>
          <a:xfrm>
            <a:off x="8723086" y="4826274"/>
            <a:ext cx="1172437" cy="44781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b.fs.mount(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982E65-1100-4FD3-8E71-B259C9E98DFE}"/>
              </a:ext>
            </a:extLst>
          </p:cNvPr>
          <p:cNvSpPr txBox="1"/>
          <p:nvPr/>
        </p:nvSpPr>
        <p:spPr>
          <a:xfrm>
            <a:off x="9610161" y="3504317"/>
            <a:ext cx="711926" cy="4616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DBF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BC1433C-2D07-4AAA-A6E0-DEF5C3EA32A5}"/>
              </a:ext>
            </a:extLst>
          </p:cNvPr>
          <p:cNvSpPr txBox="1"/>
          <p:nvPr/>
        </p:nvSpPr>
        <p:spPr>
          <a:xfrm>
            <a:off x="9988694" y="4817261"/>
            <a:ext cx="1172437" cy="44781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b.fs.mount()</a:t>
            </a:r>
          </a:p>
        </p:txBody>
      </p:sp>
    </p:spTree>
    <p:extLst>
      <p:ext uri="{BB962C8B-B14F-4D97-AF65-F5344CB8AC3E}">
        <p14:creationId xmlns:p14="http://schemas.microsoft.com/office/powerpoint/2010/main" val="81542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58A647-2CD1-4EEC-816B-370EF8CDF8E5}"/>
              </a:ext>
            </a:extLst>
          </p:cNvPr>
          <p:cNvSpPr/>
          <p:nvPr/>
        </p:nvSpPr>
        <p:spPr bwMode="auto">
          <a:xfrm>
            <a:off x="634790" y="3920729"/>
            <a:ext cx="3509544" cy="1958638"/>
          </a:xfrm>
          <a:prstGeom prst="rect">
            <a:avLst/>
          </a:prstGeom>
          <a:noFill/>
          <a:ln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6E8110-F096-4C2A-B438-E029CCFFA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Secure Collabo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D962CB-78D0-402C-8DFA-E2509C42D5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Azure Databricks enables </a:t>
            </a:r>
            <a:r>
              <a:rPr lang="en-US" sz="2000" i="1" dirty="0"/>
              <a:t>secure</a:t>
            </a:r>
            <a:r>
              <a:rPr lang="en-US" sz="2000" dirty="0"/>
              <a:t> collaboration between colleagu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F1BBA20-5E24-4374-B1A3-F4C5B583D64E}"/>
              </a:ext>
            </a:extLst>
          </p:cNvPr>
          <p:cNvGrpSpPr/>
          <p:nvPr/>
        </p:nvGrpSpPr>
        <p:grpSpPr>
          <a:xfrm>
            <a:off x="4621075" y="1413275"/>
            <a:ext cx="6941311" cy="5261811"/>
            <a:chOff x="2789304" y="1413275"/>
            <a:chExt cx="6941311" cy="5261811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95F5674-1A53-4A77-8E46-363DF4EF1D29}"/>
                </a:ext>
              </a:extLst>
            </p:cNvPr>
            <p:cNvSpPr/>
            <p:nvPr/>
          </p:nvSpPr>
          <p:spPr bwMode="auto">
            <a:xfrm>
              <a:off x="3485995" y="1728636"/>
              <a:ext cx="6062703" cy="4572000"/>
            </a:xfrm>
            <a:prstGeom prst="ellipse">
              <a:avLst/>
            </a:prstGeom>
            <a:noFill/>
            <a:ln>
              <a:solidFill>
                <a:srgbClr val="FF9933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0CCF31B0-2260-4F35-9AD2-6316CA92EAEC}"/>
                </a:ext>
              </a:extLst>
            </p:cNvPr>
            <p:cNvGrpSpPr/>
            <p:nvPr/>
          </p:nvGrpSpPr>
          <p:grpSpPr>
            <a:xfrm>
              <a:off x="4628348" y="2671312"/>
              <a:ext cx="3770298" cy="2692143"/>
              <a:chOff x="4628348" y="2671312"/>
              <a:chExt cx="3770298" cy="2692143"/>
            </a:xfrm>
          </p:grpSpPr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3A72EAD7-D72E-4F94-A689-20ABE2D59643}"/>
                  </a:ext>
                </a:extLst>
              </p:cNvPr>
              <p:cNvSpPr/>
              <p:nvPr/>
            </p:nvSpPr>
            <p:spPr bwMode="auto">
              <a:xfrm>
                <a:off x="4628348" y="2671312"/>
                <a:ext cx="3770298" cy="2692143"/>
              </a:xfrm>
              <a:prstGeom prst="round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98886DD3-EF63-4A5A-B8E2-514FBAD1F926}"/>
                  </a:ext>
                </a:extLst>
              </p:cNvPr>
              <p:cNvGrpSpPr/>
              <p:nvPr/>
            </p:nvGrpSpPr>
            <p:grpSpPr>
              <a:xfrm>
                <a:off x="4670355" y="2796560"/>
                <a:ext cx="3686284" cy="2441647"/>
                <a:chOff x="4100189" y="2433993"/>
                <a:chExt cx="3686284" cy="2441647"/>
              </a:xfrm>
            </p:grpSpPr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8FA1D7D7-B277-4E33-87A3-C4A926E7CA31}"/>
                    </a:ext>
                  </a:extLst>
                </p:cNvPr>
                <p:cNvGrpSpPr/>
                <p:nvPr/>
              </p:nvGrpSpPr>
              <p:grpSpPr>
                <a:xfrm>
                  <a:off x="5126145" y="2994125"/>
                  <a:ext cx="1662546" cy="1335541"/>
                  <a:chOff x="5015237" y="2994125"/>
                  <a:chExt cx="1662546" cy="1335541"/>
                </a:xfrm>
              </p:grpSpPr>
              <p:sp>
                <p:nvSpPr>
                  <p:cNvPr id="19" name="Rectangle 18">
                    <a:extLst>
                      <a:ext uri="{FF2B5EF4-FFF2-40B4-BE49-F238E27FC236}">
                        <a16:creationId xmlns:a16="http://schemas.microsoft.com/office/drawing/2014/main" id="{1F4C0278-0C1B-4F16-800E-0227A8EE1D0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015237" y="2994125"/>
                    <a:ext cx="1662546" cy="1335541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2400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20" name="Group 19">
                    <a:extLst>
                      <a:ext uri="{FF2B5EF4-FFF2-40B4-BE49-F238E27FC236}">
                        <a16:creationId xmlns:a16="http://schemas.microsoft.com/office/drawing/2014/main" id="{95C4BDE8-C307-4379-B9AF-A7F584E561BC}"/>
                      </a:ext>
                    </a:extLst>
                  </p:cNvPr>
                  <p:cNvGrpSpPr/>
                  <p:nvPr/>
                </p:nvGrpSpPr>
                <p:grpSpPr>
                  <a:xfrm>
                    <a:off x="5244930" y="3161573"/>
                    <a:ext cx="1169214" cy="1026790"/>
                    <a:chOff x="5244930" y="3161573"/>
                    <a:chExt cx="1169214" cy="1026790"/>
                  </a:xfrm>
                </p:grpSpPr>
                <p:pic>
                  <p:nvPicPr>
                    <p:cNvPr id="15" name="Picture 14">
                      <a:extLst>
                        <a:ext uri="{FF2B5EF4-FFF2-40B4-BE49-F238E27FC236}">
                          <a16:creationId xmlns:a16="http://schemas.microsoft.com/office/drawing/2014/main" id="{397C70BA-8296-4890-8C35-712F8B8DAB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/>
                    <a:stretch>
                      <a:fillRect/>
                    </a:stretch>
                  </p:blipFill>
                  <p:spPr>
                    <a:xfrm>
                      <a:off x="5873122" y="3173982"/>
                      <a:ext cx="541022" cy="4572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6" name="Picture 15">
                      <a:extLst>
                        <a:ext uri="{FF2B5EF4-FFF2-40B4-BE49-F238E27FC236}">
                          <a16:creationId xmlns:a16="http://schemas.microsoft.com/office/drawing/2014/main" id="{7C0D60A3-BB0F-489E-8A3E-CC97E8BEB4C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/>
                    <a:stretch>
                      <a:fillRect/>
                    </a:stretch>
                  </p:blipFill>
                  <p:spPr>
                    <a:xfrm>
                      <a:off x="5252613" y="3731163"/>
                      <a:ext cx="538846" cy="4572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" name="Picture 16">
                      <a:extLst>
                        <a:ext uri="{FF2B5EF4-FFF2-40B4-BE49-F238E27FC236}">
                          <a16:creationId xmlns:a16="http://schemas.microsoft.com/office/drawing/2014/main" id="{6408E209-7C89-4063-8BCA-83148F09AD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/>
                    <a:stretch>
                      <a:fillRect/>
                    </a:stretch>
                  </p:blipFill>
                  <p:spPr>
                    <a:xfrm>
                      <a:off x="5890508" y="3723481"/>
                      <a:ext cx="515390" cy="45720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8" name="Picture 17">
                      <a:extLst>
                        <a:ext uri="{FF2B5EF4-FFF2-40B4-BE49-F238E27FC236}">
                          <a16:creationId xmlns:a16="http://schemas.microsoft.com/office/drawing/2014/main" id="{AE606624-C851-4E9B-8A03-1A1B253C04E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/>
                    <a:stretch>
                      <a:fillRect/>
                    </a:stretch>
                  </p:blipFill>
                  <p:spPr>
                    <a:xfrm>
                      <a:off x="5244930" y="3161573"/>
                      <a:ext cx="541022" cy="457200"/>
                    </a:xfrm>
                    <a:prstGeom prst="rect">
                      <a:avLst/>
                    </a:prstGeom>
                  </p:spPr>
                </p:pic>
              </p:grpSp>
            </p:grp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46EB93D4-59E6-4047-A3F8-EC993AA69A17}"/>
                    </a:ext>
                  </a:extLst>
                </p:cNvPr>
                <p:cNvSpPr txBox="1"/>
                <p:nvPr/>
              </p:nvSpPr>
              <p:spPr>
                <a:xfrm>
                  <a:off x="4448884" y="2433993"/>
                  <a:ext cx="2988895" cy="544765"/>
                </a:xfrm>
                <a:prstGeom prst="rect">
                  <a:avLst/>
                </a:prstGeom>
                <a:noFill/>
              </p:spPr>
              <p:txBody>
                <a:bodyPr wrap="non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dirty="0">
                      <a:solidFill>
                        <a:schemeClr val="bg1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Fine Grained Permissions</a:t>
                  </a:r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3F9F65E9-BEBB-4566-A48E-D20EE611C33C}"/>
                    </a:ext>
                  </a:extLst>
                </p:cNvPr>
                <p:cNvSpPr txBox="1"/>
                <p:nvPr/>
              </p:nvSpPr>
              <p:spPr>
                <a:xfrm>
                  <a:off x="4100189" y="4330875"/>
                  <a:ext cx="3686284" cy="544765"/>
                </a:xfrm>
                <a:prstGeom prst="rect">
                  <a:avLst/>
                </a:prstGeom>
                <a:noFill/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dirty="0">
                      <a:solidFill>
                        <a:schemeClr val="bg1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AAD-based User Authentication</a:t>
                  </a:r>
                </a:p>
              </p:txBody>
            </p:sp>
          </p:grpSp>
        </p:grp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344BA768-8C48-401B-B115-0E05647CA8C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782592" y="3513276"/>
              <a:ext cx="948023" cy="1008215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547044DF-B5BB-4713-998C-2B1B798BE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34861" y="1413275"/>
              <a:ext cx="757272" cy="899665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902D547-B6FF-490D-B613-DA51404326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34861" y="5775421"/>
              <a:ext cx="757272" cy="899665"/>
            </a:xfrm>
            <a:prstGeom prst="rect">
              <a:avLst/>
            </a:prstGeom>
            <a:solidFill>
              <a:srgbClr val="FF9999"/>
            </a:solidFill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70FCFF9-3ED4-48C8-BC43-A960D892EB4C}"/>
                </a:ext>
              </a:extLst>
            </p:cNvPr>
            <p:cNvGrpSpPr/>
            <p:nvPr/>
          </p:nvGrpSpPr>
          <p:grpSpPr>
            <a:xfrm>
              <a:off x="2789304" y="3513276"/>
              <a:ext cx="1152663" cy="1008215"/>
              <a:chOff x="2789304" y="3531828"/>
              <a:chExt cx="1152663" cy="1008215"/>
            </a:xfrm>
          </p:grpSpPr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86A569C7-58C7-4439-9340-DD7B29D10A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861139" y="3531828"/>
                <a:ext cx="943861" cy="1008215"/>
              </a:xfrm>
              <a:prstGeom prst="rect">
                <a:avLst/>
              </a:prstGeom>
            </p:spPr>
          </p:pic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884BD719-B44A-4837-8371-D5E46FCB19B5}"/>
                  </a:ext>
                </a:extLst>
              </p:cNvPr>
              <p:cNvSpPr/>
              <p:nvPr/>
            </p:nvSpPr>
            <p:spPr bwMode="auto">
              <a:xfrm>
                <a:off x="2789304" y="3896158"/>
                <a:ext cx="284309" cy="2148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FFE91B33-C749-40CF-B470-D6BC1651999B}"/>
                  </a:ext>
                </a:extLst>
              </p:cNvPr>
              <p:cNvSpPr/>
              <p:nvPr/>
            </p:nvSpPr>
            <p:spPr bwMode="auto">
              <a:xfrm>
                <a:off x="3657658" y="3939280"/>
                <a:ext cx="284309" cy="2148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6" name="Arrow: Chevron 45">
              <a:extLst>
                <a:ext uri="{FF2B5EF4-FFF2-40B4-BE49-F238E27FC236}">
                  <a16:creationId xmlns:a16="http://schemas.microsoft.com/office/drawing/2014/main" id="{F6783A98-2B87-4D2F-BD06-A8EAAD135DB3}"/>
                </a:ext>
              </a:extLst>
            </p:cNvPr>
            <p:cNvSpPr/>
            <p:nvPr/>
          </p:nvSpPr>
          <p:spPr bwMode="auto">
            <a:xfrm rot="1886891">
              <a:off x="8298756" y="2135431"/>
              <a:ext cx="199779" cy="215153"/>
            </a:xfrm>
            <a:prstGeom prst="chevron">
              <a:avLst/>
            </a:prstGeom>
            <a:solidFill>
              <a:srgbClr val="FF9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Arrow: Chevron 51">
              <a:extLst>
                <a:ext uri="{FF2B5EF4-FFF2-40B4-BE49-F238E27FC236}">
                  <a16:creationId xmlns:a16="http://schemas.microsoft.com/office/drawing/2014/main" id="{BCA78612-7543-4251-8CBF-6CA7FABB65BA}"/>
                </a:ext>
              </a:extLst>
            </p:cNvPr>
            <p:cNvSpPr/>
            <p:nvPr/>
          </p:nvSpPr>
          <p:spPr bwMode="auto">
            <a:xfrm rot="8546935">
              <a:off x="8475234" y="5587349"/>
              <a:ext cx="199779" cy="215153"/>
            </a:xfrm>
            <a:prstGeom prst="chevron">
              <a:avLst/>
            </a:prstGeom>
            <a:solidFill>
              <a:srgbClr val="FF9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Arrow: Chevron 52">
              <a:extLst>
                <a:ext uri="{FF2B5EF4-FFF2-40B4-BE49-F238E27FC236}">
                  <a16:creationId xmlns:a16="http://schemas.microsoft.com/office/drawing/2014/main" id="{18582197-8019-40DC-AA6B-4E73BBCB85C9}"/>
                </a:ext>
              </a:extLst>
            </p:cNvPr>
            <p:cNvSpPr/>
            <p:nvPr/>
          </p:nvSpPr>
          <p:spPr bwMode="auto">
            <a:xfrm rot="13300066">
              <a:off x="4270787" y="5521077"/>
              <a:ext cx="199779" cy="215153"/>
            </a:xfrm>
            <a:prstGeom prst="chevron">
              <a:avLst/>
            </a:prstGeom>
            <a:solidFill>
              <a:srgbClr val="FF9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Arrow: Chevron 53">
              <a:extLst>
                <a:ext uri="{FF2B5EF4-FFF2-40B4-BE49-F238E27FC236}">
                  <a16:creationId xmlns:a16="http://schemas.microsoft.com/office/drawing/2014/main" id="{BF06AEDC-6265-40E0-9787-A505BF5E1612}"/>
                </a:ext>
              </a:extLst>
            </p:cNvPr>
            <p:cNvSpPr/>
            <p:nvPr/>
          </p:nvSpPr>
          <p:spPr bwMode="auto">
            <a:xfrm rot="19481389">
              <a:off x="4384766" y="2216111"/>
              <a:ext cx="199779" cy="215153"/>
            </a:xfrm>
            <a:prstGeom prst="chevron">
              <a:avLst/>
            </a:prstGeom>
            <a:solidFill>
              <a:srgbClr val="FF9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65634607-7310-4FE5-BC47-ED2EAB15B339}"/>
              </a:ext>
            </a:extLst>
          </p:cNvPr>
          <p:cNvSpPr/>
          <p:nvPr/>
        </p:nvSpPr>
        <p:spPr>
          <a:xfrm>
            <a:off x="520237" y="1980251"/>
            <a:ext cx="3552262" cy="393954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77800" lvl="1" indent="-17780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th Azure Databricks colleagues can </a:t>
            </a:r>
            <a:r>
              <a:rPr lang="en-US" sz="1600" i="1" kern="0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urely share </a:t>
            </a:r>
            <a:r>
              <a:rPr lang="en-US" sz="1600" kern="0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artifacts such as Clusters, Notebooks, Jobs and Workspaces</a:t>
            </a:r>
          </a:p>
          <a:p>
            <a:pPr marL="177800" lvl="1" indent="-17780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ure collaboration is enabled through a combination of:</a:t>
            </a:r>
          </a:p>
          <a:p>
            <a:pPr marL="187960" lvl="2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i</a:t>
            </a:r>
            <a:r>
              <a:rPr lang="en-US" sz="1400" b="1" kern="0" dirty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e grained permissions</a:t>
            </a:r>
            <a:r>
              <a:rPr lang="en-US" sz="1400" b="1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ines who can do what on which artifacts (access control)</a:t>
            </a:r>
          </a:p>
          <a:p>
            <a:pPr marL="187960" lvl="2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endParaRPr lang="en-US" sz="14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87960" lvl="2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AD-based authentication: </a:t>
            </a: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sures that users are actually who they claim to be</a:t>
            </a: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49" name="Plus Sign 48">
            <a:extLst>
              <a:ext uri="{FF2B5EF4-FFF2-40B4-BE49-F238E27FC236}">
                <a16:creationId xmlns:a16="http://schemas.microsoft.com/office/drawing/2014/main" id="{C3BC439C-D772-4D8C-B5C6-6E0009444255}"/>
              </a:ext>
            </a:extLst>
          </p:cNvPr>
          <p:cNvSpPr/>
          <p:nvPr/>
        </p:nvSpPr>
        <p:spPr bwMode="auto">
          <a:xfrm>
            <a:off x="2192363" y="4775099"/>
            <a:ext cx="500160" cy="461665"/>
          </a:xfrm>
          <a:prstGeom prst="mathPlus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48675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2F2E120-8682-4A59-8475-7D010C373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932563"/>
          </a:xfrm>
        </p:spPr>
        <p:txBody>
          <a:bodyPr/>
          <a:lstStyle/>
          <a:p>
            <a:r>
              <a:rPr lang="en-US" sz="5400" dirty="0"/>
              <a:t>Azure Databricks Differences </a:t>
            </a:r>
          </a:p>
        </p:txBody>
      </p:sp>
    </p:spTree>
    <p:extLst>
      <p:ext uri="{BB962C8B-B14F-4D97-AF65-F5344CB8AC3E}">
        <p14:creationId xmlns:p14="http://schemas.microsoft.com/office/powerpoint/2010/main" val="50842941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52DB6-87CC-48C1-A987-17DC6822C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Databricks Spark is fa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C8C363-0065-425E-8734-8E7A011CF5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Benchmarks have shown Databricks to often have better performance than alternativ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8FA0366-32CF-4EEE-8CDC-C5345295DE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7918" y="2099117"/>
            <a:ext cx="9335370" cy="2620050"/>
          </a:xfrm>
          <a:prstGeom prst="rect">
            <a:avLst/>
          </a:prstGeom>
          <a:ln>
            <a:solidFill>
              <a:srgbClr val="FF6600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97F7BBD-65C3-4EB6-AEE5-D8FC6B267C55}"/>
              </a:ext>
            </a:extLst>
          </p:cNvPr>
          <p:cNvSpPr/>
          <p:nvPr/>
        </p:nvSpPr>
        <p:spPr>
          <a:xfrm>
            <a:off x="3071076" y="4969891"/>
            <a:ext cx="691576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cap="all" dirty="0">
                <a:solidFill>
                  <a:srgbClr val="F1582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URCE: </a:t>
            </a:r>
            <a:r>
              <a:rPr lang="en-US" sz="1400" u="sng" dirty="0">
                <a:solidFill>
                  <a:srgbClr val="333333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Benchmarking Big Data SQL Platforms in the Cloud</a:t>
            </a:r>
            <a:endParaRPr lang="en-US" sz="1400" b="0" i="0" dirty="0">
              <a:solidFill>
                <a:srgbClr val="333333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65446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3A7421-6E88-4164-8A25-628D664D3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715919"/>
          </a:xfrm>
        </p:spPr>
        <p:txBody>
          <a:bodyPr/>
          <a:lstStyle/>
          <a:p>
            <a:r>
              <a:rPr lang="en-US" sz="5400" dirty="0">
                <a:solidFill>
                  <a:schemeClr val="tx1"/>
                </a:solidFill>
              </a:rPr>
              <a:t>Azur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5400" dirty="0">
                <a:solidFill>
                  <a:schemeClr val="tx1"/>
                </a:solidFill>
              </a:rPr>
              <a:t>Databricks</a:t>
            </a:r>
            <a:br>
              <a:rPr lang="en-US" sz="5400" dirty="0">
                <a:solidFill>
                  <a:schemeClr val="tx1"/>
                </a:solidFill>
              </a:rPr>
            </a:br>
            <a:r>
              <a:rPr lang="en-US" sz="4000" dirty="0" err="1">
                <a:solidFill>
                  <a:schemeClr val="tx1"/>
                </a:solidFill>
              </a:rPr>
              <a:t>Databricks</a:t>
            </a:r>
            <a:r>
              <a:rPr lang="en-US" sz="4000" dirty="0">
                <a:solidFill>
                  <a:schemeClr val="tx1"/>
                </a:solidFill>
              </a:rPr>
              <a:t> Spark as a managed service on Azure</a:t>
            </a:r>
            <a:endParaRPr lang="en-US" sz="5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52330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23CB3-4656-4913-84CF-70A8866AD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277696"/>
            <a:ext cx="11655840" cy="899665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CA9913E9-F299-439D-9BB0-C159865268F9}"/>
              </a:ext>
            </a:extLst>
          </p:cNvPr>
          <p:cNvSpPr txBox="1">
            <a:spLocks/>
          </p:cNvSpPr>
          <p:nvPr/>
        </p:nvSpPr>
        <p:spPr>
          <a:xfrm>
            <a:off x="357742" y="1424883"/>
            <a:ext cx="6058961" cy="5265504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4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Databricks is a </a:t>
            </a:r>
            <a:r>
              <a:rPr kumimoji="0" lang="en-US" sz="1600" b="1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first party </a:t>
            </a: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ervice on Azure.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Unlike with other clouds, it is not an Azure Marketplace or a 3</a:t>
            </a:r>
            <a:r>
              <a:rPr kumimoji="0" lang="en-US" sz="1400" b="0" i="0" u="none" strike="noStrike" kern="0" cap="none" spc="0" normalizeH="0" baseline="3000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rd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 party hosted service. </a:t>
            </a:r>
          </a:p>
          <a:p>
            <a:pPr marL="285750" marR="0" lvl="1" indent="-285750" algn="l" defTabSz="914367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8D4"/>
              </a:buClr>
              <a:buSzPct val="90000"/>
              <a:buFont typeface="Wingdings" panose="05000000000000000000" pitchFamily="2" charset="2"/>
              <a:buChar char="§"/>
              <a:tabLst>
                <a:tab pos="632806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Databricks is integrated seamlessly with Azure services: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Portal: 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Service an be launched directly from Azure Portal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Storage Services: 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Directly access data in Azure Blob Storage and Azure Data Lake Store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Active Directory: 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For user authentication, eliminating the need to maintain two separate sets of uses in Databricks and Azure.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SQL DW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sym typeface="Wingdings" panose="05000000000000000000" pitchFamily="2" charset="2"/>
              </a:rPr>
              <a:t> and Azure Cosmos DB: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Enables you to combine structured and unstructured data for analytics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pache Kafka for HDInsight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: Enables you to use Kafka as a streaming data source or sink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Event Hub &amp; Azure IOT Hubs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: Enables you to use Event Hub and IOT Hub as a streaming data source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Billing: 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You get a single bill from Azure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Power BI: 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For rich data visualization</a:t>
            </a:r>
          </a:p>
          <a:p>
            <a:pPr marL="406400" marR="0" lvl="2" indent="-177800" algn="l" defTabSz="914367" rtl="0" eaLnBrk="1" fontAlgn="base" latinLnBrk="0" hangingPunct="1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rgbClr val="0078D4"/>
              </a:buClr>
              <a:buSzPct val="90000"/>
              <a:buFont typeface="Arial" panose="020B0604020202020204" pitchFamily="34" charset="0"/>
              <a:buChar char="•"/>
              <a:tabLst>
                <a:tab pos="632806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zure Data Factory: </a:t>
            </a:r>
            <a:r>
              <a:rPr kumimoji="0" lang="en-US" sz="1400" b="0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E6E6E6">
                    <a:lumMod val="25000"/>
                  </a:srgb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For ETL/ELT</a:t>
            </a:r>
            <a:endParaRPr kumimoji="0" lang="en-US" sz="1600" b="0" i="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1A1A1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Freeform: Shape 1">
            <a:extLst>
              <a:ext uri="{FF2B5EF4-FFF2-40B4-BE49-F238E27FC236}">
                <a16:creationId xmlns:a16="http://schemas.microsoft.com/office/drawing/2014/main" id="{ED361D54-B22F-46C7-BE09-30B957A8F51E}"/>
              </a:ext>
            </a:extLst>
          </p:cNvPr>
          <p:cNvSpPr/>
          <p:nvPr/>
        </p:nvSpPr>
        <p:spPr bwMode="auto">
          <a:xfrm>
            <a:off x="6866022" y="1994828"/>
            <a:ext cx="4968236" cy="2752102"/>
          </a:xfrm>
          <a:custGeom>
            <a:avLst/>
            <a:gdLst>
              <a:gd name="connsiteX0" fmla="*/ 3361107 w 6810924"/>
              <a:gd name="connsiteY0" fmla="*/ 0 h 3759126"/>
              <a:gd name="connsiteX1" fmla="*/ 4838321 w 6810924"/>
              <a:gd name="connsiteY1" fmla="*/ 979163 h 3759126"/>
              <a:gd name="connsiteX2" fmla="*/ 4860282 w 6810924"/>
              <a:gd name="connsiteY2" fmla="*/ 1039166 h 3759126"/>
              <a:gd name="connsiteX3" fmla="*/ 4977487 w 6810924"/>
              <a:gd name="connsiteY3" fmla="*/ 996268 h 3759126"/>
              <a:gd name="connsiteX4" fmla="*/ 5397728 w 6810924"/>
              <a:gd name="connsiteY4" fmla="*/ 932734 h 3759126"/>
              <a:gd name="connsiteX5" fmla="*/ 6810924 w 6810924"/>
              <a:gd name="connsiteY5" fmla="*/ 2345930 h 3759126"/>
              <a:gd name="connsiteX6" fmla="*/ 5542219 w 6810924"/>
              <a:gd name="connsiteY6" fmla="*/ 3751830 h 3759126"/>
              <a:gd name="connsiteX7" fmla="*/ 5469009 w 6810924"/>
              <a:gd name="connsiteY7" fmla="*/ 3755527 h 3759126"/>
              <a:gd name="connsiteX8" fmla="*/ 5469009 w 6810924"/>
              <a:gd name="connsiteY8" fmla="*/ 3759125 h 3759126"/>
              <a:gd name="connsiteX9" fmla="*/ 5397748 w 6810924"/>
              <a:gd name="connsiteY9" fmla="*/ 3759125 h 3759126"/>
              <a:gd name="connsiteX10" fmla="*/ 5397728 w 6810924"/>
              <a:gd name="connsiteY10" fmla="*/ 3759126 h 3759126"/>
              <a:gd name="connsiteX11" fmla="*/ 5397708 w 6810924"/>
              <a:gd name="connsiteY11" fmla="*/ 3759125 h 3759126"/>
              <a:gd name="connsiteX12" fmla="*/ 779509 w 6810924"/>
              <a:gd name="connsiteY12" fmla="*/ 3759125 h 3759126"/>
              <a:gd name="connsiteX13" fmla="*/ 779489 w 6810924"/>
              <a:gd name="connsiteY13" fmla="*/ 3759126 h 3759126"/>
              <a:gd name="connsiteX14" fmla="*/ 779470 w 6810924"/>
              <a:gd name="connsiteY14" fmla="*/ 3759125 h 3759126"/>
              <a:gd name="connsiteX15" fmla="*/ 760443 w 6810924"/>
              <a:gd name="connsiteY15" fmla="*/ 3759125 h 3759126"/>
              <a:gd name="connsiteX16" fmla="*/ 760443 w 6810924"/>
              <a:gd name="connsiteY16" fmla="*/ 3758165 h 3759126"/>
              <a:gd name="connsiteX17" fmla="*/ 699791 w 6810924"/>
              <a:gd name="connsiteY17" fmla="*/ 3755102 h 3759126"/>
              <a:gd name="connsiteX18" fmla="*/ 0 w 6810924"/>
              <a:gd name="connsiteY18" fmla="*/ 2979637 h 3759126"/>
              <a:gd name="connsiteX19" fmla="*/ 779489 w 6810924"/>
              <a:gd name="connsiteY19" fmla="*/ 2200148 h 3759126"/>
              <a:gd name="connsiteX20" fmla="*/ 869383 w 6810924"/>
              <a:gd name="connsiteY20" fmla="*/ 2205818 h 3759126"/>
              <a:gd name="connsiteX21" fmla="*/ 855381 w 6810924"/>
              <a:gd name="connsiteY21" fmla="*/ 2066924 h 3759126"/>
              <a:gd name="connsiteX22" fmla="*/ 1782273 w 6810924"/>
              <a:gd name="connsiteY22" fmla="*/ 1140032 h 3759126"/>
              <a:gd name="connsiteX23" fmla="*/ 1825926 w 6810924"/>
              <a:gd name="connsiteY23" fmla="*/ 1142236 h 3759126"/>
              <a:gd name="connsiteX24" fmla="*/ 1829983 w 6810924"/>
              <a:gd name="connsiteY24" fmla="*/ 1126458 h 3759126"/>
              <a:gd name="connsiteX25" fmla="*/ 3361107 w 6810924"/>
              <a:gd name="connsiteY25" fmla="*/ 0 h 3759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810924" h="3759126">
                <a:moveTo>
                  <a:pt x="3361107" y="0"/>
                </a:moveTo>
                <a:cubicBezTo>
                  <a:pt x="4025175" y="0"/>
                  <a:pt x="4594941" y="403750"/>
                  <a:pt x="4838321" y="979163"/>
                </a:cubicBezTo>
                <a:lnTo>
                  <a:pt x="4860282" y="1039166"/>
                </a:lnTo>
                <a:lnTo>
                  <a:pt x="4977487" y="996268"/>
                </a:lnTo>
                <a:cubicBezTo>
                  <a:pt x="5110241" y="954978"/>
                  <a:pt x="5251387" y="932734"/>
                  <a:pt x="5397728" y="932734"/>
                </a:cubicBezTo>
                <a:cubicBezTo>
                  <a:pt x="6178215" y="932734"/>
                  <a:pt x="6810924" y="1565443"/>
                  <a:pt x="6810924" y="2345930"/>
                </a:cubicBezTo>
                <a:cubicBezTo>
                  <a:pt x="6810924" y="3077637"/>
                  <a:pt x="6254832" y="3679460"/>
                  <a:pt x="5542219" y="3751830"/>
                </a:cubicBezTo>
                <a:lnTo>
                  <a:pt x="5469009" y="3755527"/>
                </a:lnTo>
                <a:lnTo>
                  <a:pt x="5469009" y="3759125"/>
                </a:lnTo>
                <a:lnTo>
                  <a:pt x="5397748" y="3759125"/>
                </a:lnTo>
                <a:lnTo>
                  <a:pt x="5397728" y="3759126"/>
                </a:lnTo>
                <a:lnTo>
                  <a:pt x="5397708" y="3759125"/>
                </a:lnTo>
                <a:lnTo>
                  <a:pt x="779509" y="3759125"/>
                </a:lnTo>
                <a:lnTo>
                  <a:pt x="779489" y="3759126"/>
                </a:lnTo>
                <a:lnTo>
                  <a:pt x="779470" y="3759125"/>
                </a:lnTo>
                <a:lnTo>
                  <a:pt x="760443" y="3759125"/>
                </a:lnTo>
                <a:lnTo>
                  <a:pt x="760443" y="3758165"/>
                </a:lnTo>
                <a:lnTo>
                  <a:pt x="699791" y="3755102"/>
                </a:lnTo>
                <a:cubicBezTo>
                  <a:pt x="306729" y="3715184"/>
                  <a:pt x="0" y="3383231"/>
                  <a:pt x="0" y="2979637"/>
                </a:cubicBezTo>
                <a:cubicBezTo>
                  <a:pt x="0" y="2549137"/>
                  <a:pt x="348989" y="2200148"/>
                  <a:pt x="779489" y="2200148"/>
                </a:cubicBezTo>
                <a:lnTo>
                  <a:pt x="869383" y="2205818"/>
                </a:lnTo>
                <a:lnTo>
                  <a:pt x="855381" y="2066924"/>
                </a:lnTo>
                <a:cubicBezTo>
                  <a:pt x="855381" y="1555016"/>
                  <a:pt x="1270365" y="1140032"/>
                  <a:pt x="1782273" y="1140032"/>
                </a:cubicBezTo>
                <a:lnTo>
                  <a:pt x="1825926" y="1142236"/>
                </a:lnTo>
                <a:lnTo>
                  <a:pt x="1829983" y="1126458"/>
                </a:lnTo>
                <a:cubicBezTo>
                  <a:pt x="2032967" y="473846"/>
                  <a:pt x="2641701" y="0"/>
                  <a:pt x="3361107" y="0"/>
                </a:cubicBezTo>
                <a:close/>
              </a:path>
            </a:pathLst>
          </a:custGeom>
          <a:noFill/>
          <a:ln w="381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MS cloud text">
            <a:extLst>
              <a:ext uri="{FF2B5EF4-FFF2-40B4-BE49-F238E27FC236}">
                <a16:creationId xmlns:a16="http://schemas.microsoft.com/office/drawing/2014/main" id="{B24C7F1D-2C36-4CE4-AC5A-197A0BAF4763}"/>
              </a:ext>
            </a:extLst>
          </p:cNvPr>
          <p:cNvSpPr txBox="1">
            <a:spLocks/>
          </p:cNvSpPr>
          <p:nvPr/>
        </p:nvSpPr>
        <p:spPr>
          <a:xfrm>
            <a:off x="7030933" y="3925957"/>
            <a:ext cx="4968236" cy="820973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lang="en-US" sz="4800" b="0" cap="none" spc="-102" baseline="0" dirty="0" smtClean="0">
                <a:ln w="3175">
                  <a:noFill/>
                </a:ln>
                <a:gradFill>
                  <a:gsLst>
                    <a:gs pos="21239">
                      <a:schemeClr val="bg2">
                        <a:lumMod val="50000"/>
                      </a:schemeClr>
                    </a:gs>
                    <a:gs pos="84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effectLst/>
                <a:latin typeface="+mj-lt"/>
                <a:cs typeface="Segoe UI" pitchFamily="34" charset="0"/>
              </a:defRPr>
            </a:lvl1pPr>
          </a:lstStyle>
          <a:p>
            <a:pPr marL="0" marR="0" lvl="0" indent="0" algn="ctr" defTabSz="89638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100" normalizeH="0" baseline="0" noProof="0" dirty="0">
                <a:ln w="3175">
                  <a:noFill/>
                </a:ln>
                <a:solidFill>
                  <a:srgbClr val="002050"/>
                </a:solidFill>
                <a:effectLst/>
                <a:uLnTx/>
                <a:uFillTx/>
                <a:latin typeface="Segoe UI Semilight"/>
                <a:ea typeface="+mn-ea"/>
                <a:cs typeface="Segoe UI Semilight" panose="020B0402040204020203" pitchFamily="34" charset="0"/>
              </a:rPr>
              <a:t>Microsoft Azure</a:t>
            </a:r>
            <a:endParaRPr kumimoji="0" lang="en-US" sz="3600" b="0" i="0" u="none" strike="noStrike" kern="0" cap="none" spc="-100" normalizeH="0" baseline="0" noProof="0" dirty="0">
              <a:ln w="3175">
                <a:noFill/>
              </a:ln>
              <a:solidFill>
                <a:srgbClr val="002050"/>
              </a:solidFill>
              <a:effectLst/>
              <a:uLnTx/>
              <a:uFillTx/>
              <a:latin typeface="Segoe UI Light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4100" name="Picture 4" descr="Image result for databricks icon">
            <a:extLst>
              <a:ext uri="{FF2B5EF4-FFF2-40B4-BE49-F238E27FC236}">
                <a16:creationId xmlns:a16="http://schemas.microsoft.com/office/drawing/2014/main" id="{D75E2D2A-F0FD-4DD7-B1CF-7955E9B285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272" y="3078698"/>
            <a:ext cx="2579557" cy="43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700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79167E-6 2.22222E-6 L 4.79167E-6 0.09629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2" grpId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2FDD1C-C9DC-4BF8-ADA7-07416D88B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932563"/>
          </a:xfrm>
        </p:spPr>
        <p:txBody>
          <a:bodyPr/>
          <a:lstStyle/>
          <a:p>
            <a:r>
              <a:rPr lang="en-US" sz="5400" dirty="0"/>
              <a:t>Use cases</a:t>
            </a:r>
          </a:p>
        </p:txBody>
      </p:sp>
    </p:spTree>
    <p:extLst>
      <p:ext uri="{BB962C8B-B14F-4D97-AF65-F5344CB8AC3E}">
        <p14:creationId xmlns:p14="http://schemas.microsoft.com/office/powerpoint/2010/main" val="172107690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Rectangle 206">
            <a:extLst>
              <a:ext uri="{FF2B5EF4-FFF2-40B4-BE49-F238E27FC236}">
                <a16:creationId xmlns:a16="http://schemas.microsoft.com/office/drawing/2014/main" id="{F6B680C1-1FAC-47B6-BD48-F1675E8601F4}"/>
              </a:ext>
            </a:extLst>
          </p:cNvPr>
          <p:cNvSpPr/>
          <p:nvPr/>
        </p:nvSpPr>
        <p:spPr bwMode="auto">
          <a:xfrm>
            <a:off x="6061325" y="3500770"/>
            <a:ext cx="816328" cy="191846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899DF09-083F-4378-92F0-AF3C5EEF3B1D}"/>
              </a:ext>
            </a:extLst>
          </p:cNvPr>
          <p:cNvSpPr/>
          <p:nvPr/>
        </p:nvSpPr>
        <p:spPr bwMode="auto">
          <a:xfrm>
            <a:off x="1421107" y="1562236"/>
            <a:ext cx="8175437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0" name="Rectangle 209"/>
          <p:cNvSpPr/>
          <p:nvPr/>
        </p:nvSpPr>
        <p:spPr bwMode="auto">
          <a:xfrm>
            <a:off x="7843472" y="1764981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211" name="Rectangle 210"/>
          <p:cNvSpPr/>
          <p:nvPr/>
        </p:nvSpPr>
        <p:spPr bwMode="auto">
          <a:xfrm>
            <a:off x="5836449" y="1764981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6018701" y="3471650"/>
            <a:ext cx="1381617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bricks</a:t>
            </a:r>
          </a:p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HDInsight</a:t>
            </a:r>
          </a:p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 Lake Analytics</a:t>
            </a: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FD4F785E-13EE-401F-B737-01B931C8EA1B}"/>
              </a:ext>
            </a:extLst>
          </p:cNvPr>
          <p:cNvGrpSpPr/>
          <p:nvPr/>
        </p:nvGrpSpPr>
        <p:grpSpPr>
          <a:xfrm>
            <a:off x="1865833" y="2162815"/>
            <a:ext cx="7490307" cy="485042"/>
            <a:chOff x="7610409" y="2970243"/>
            <a:chExt cx="2834774" cy="181750"/>
          </a:xfrm>
        </p:grpSpPr>
        <p:sp>
          <p:nvSpPr>
            <p:cNvPr id="159" name="Cylinder 828">
              <a:extLst>
                <a:ext uri="{FF2B5EF4-FFF2-40B4-BE49-F238E27FC236}">
                  <a16:creationId xmlns:a16="http://schemas.microsoft.com/office/drawing/2014/main" id="{E385AFD8-155B-4B8D-A7D8-09EF70937F72}"/>
                </a:ext>
              </a:extLst>
            </p:cNvPr>
            <p:cNvSpPr/>
            <p:nvPr/>
          </p:nvSpPr>
          <p:spPr bwMode="auto">
            <a:xfrm rot="5400000">
              <a:off x="7563247" y="3017405"/>
              <a:ext cx="181748" cy="87424"/>
            </a:xfrm>
            <a:prstGeom prst="can">
              <a:avLst>
                <a:gd name="adj" fmla="val 50000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0" name="Cylinder 828">
              <a:extLst>
                <a:ext uri="{FF2B5EF4-FFF2-40B4-BE49-F238E27FC236}">
                  <a16:creationId xmlns:a16="http://schemas.microsoft.com/office/drawing/2014/main" id="{78458FC6-2F78-4E6C-A659-7463EE1E81E4}"/>
                </a:ext>
              </a:extLst>
            </p:cNvPr>
            <p:cNvSpPr/>
            <p:nvPr/>
          </p:nvSpPr>
          <p:spPr bwMode="auto">
            <a:xfrm rot="5400000">
              <a:off x="8960965" y="1688423"/>
              <a:ext cx="155640" cy="2746360"/>
            </a:xfrm>
            <a:prstGeom prst="can">
              <a:avLst>
                <a:gd name="adj" fmla="val 17907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6" name="Cylinder 828">
              <a:extLst>
                <a:ext uri="{FF2B5EF4-FFF2-40B4-BE49-F238E27FC236}">
                  <a16:creationId xmlns:a16="http://schemas.microsoft.com/office/drawing/2014/main" id="{C06923E3-0412-414A-992E-6EBE19F7BB92}"/>
                </a:ext>
              </a:extLst>
            </p:cNvPr>
            <p:cNvSpPr/>
            <p:nvPr/>
          </p:nvSpPr>
          <p:spPr bwMode="auto">
            <a:xfrm rot="5400000">
              <a:off x="10310597" y="3017407"/>
              <a:ext cx="181748" cy="87424"/>
            </a:xfrm>
            <a:prstGeom prst="can">
              <a:avLst>
                <a:gd name="adj" fmla="val 50000"/>
              </a:avLst>
            </a:prstGeom>
            <a:solidFill>
              <a:schemeClr val="bg1"/>
            </a:solidFill>
            <a:ln w="12700">
              <a:solidFill>
                <a:srgbClr val="505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58" name="TextBox 257"/>
          <p:cNvSpPr txBox="1"/>
          <p:nvPr/>
        </p:nvSpPr>
        <p:spPr>
          <a:xfrm>
            <a:off x="467317" y="3715619"/>
            <a:ext cx="77328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ustom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</a:t>
            </a:r>
          </a:p>
        </p:txBody>
      </p:sp>
      <p:sp>
        <p:nvSpPr>
          <p:cNvPr id="260" name="TextBox 259"/>
          <p:cNvSpPr txBox="1"/>
          <p:nvPr/>
        </p:nvSpPr>
        <p:spPr>
          <a:xfrm>
            <a:off x="467317" y="4989482"/>
            <a:ext cx="96741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nsors 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nd devices</a:t>
            </a:r>
          </a:p>
        </p:txBody>
      </p:sp>
      <p:sp>
        <p:nvSpPr>
          <p:cNvPr id="266" name="Rectangle 265"/>
          <p:cNvSpPr/>
          <p:nvPr/>
        </p:nvSpPr>
        <p:spPr bwMode="auto">
          <a:xfrm>
            <a:off x="3792268" y="1764981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285" name="Rectangle 284"/>
          <p:cNvSpPr/>
          <p:nvPr/>
        </p:nvSpPr>
        <p:spPr>
          <a:xfrm>
            <a:off x="4238450" y="3543606"/>
            <a:ext cx="86059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lob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Lake</a:t>
            </a:r>
          </a:p>
        </p:txBody>
      </p:sp>
      <p:sp>
        <p:nvSpPr>
          <p:cNvPr id="293" name="Rectangle 292"/>
          <p:cNvSpPr/>
          <p:nvPr/>
        </p:nvSpPr>
        <p:spPr bwMode="auto">
          <a:xfrm>
            <a:off x="1836751" y="1764981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sp>
        <p:nvSpPr>
          <p:cNvPr id="296" name="Rectangle 295"/>
          <p:cNvSpPr/>
          <p:nvPr/>
        </p:nvSpPr>
        <p:spPr>
          <a:xfrm>
            <a:off x="2377344" y="2212984"/>
            <a:ext cx="2858648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ata Factory</a:t>
            </a:r>
          </a:p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(Data movement, pipelines &amp; orchestration)</a:t>
            </a:r>
          </a:p>
        </p:txBody>
      </p:sp>
      <p:sp>
        <p:nvSpPr>
          <p:cNvPr id="232" name="Rectangle 231"/>
          <p:cNvSpPr/>
          <p:nvPr/>
        </p:nvSpPr>
        <p:spPr>
          <a:xfrm>
            <a:off x="6022885" y="4600136"/>
            <a:ext cx="98396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achine Learning </a:t>
            </a:r>
          </a:p>
        </p:txBody>
      </p:sp>
      <p:sp>
        <p:nvSpPr>
          <p:cNvPr id="291" name="Rectangle 290"/>
          <p:cNvSpPr/>
          <p:nvPr/>
        </p:nvSpPr>
        <p:spPr>
          <a:xfrm>
            <a:off x="8223812" y="2930112"/>
            <a:ext cx="89120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 DB</a:t>
            </a:r>
          </a:p>
        </p:txBody>
      </p:sp>
      <p:sp>
        <p:nvSpPr>
          <p:cNvPr id="288" name="Rectangle 287"/>
          <p:cNvSpPr/>
          <p:nvPr/>
        </p:nvSpPr>
        <p:spPr>
          <a:xfrm>
            <a:off x="8223812" y="4241928"/>
            <a:ext cx="9816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QL Data Warehouse</a:t>
            </a:r>
          </a:p>
        </p:txBody>
      </p:sp>
      <p:sp>
        <p:nvSpPr>
          <p:cNvPr id="320" name="Rectangle 319"/>
          <p:cNvSpPr/>
          <p:nvPr/>
        </p:nvSpPr>
        <p:spPr>
          <a:xfrm>
            <a:off x="8223813" y="5009301"/>
            <a:ext cx="121289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nalysis Services</a:t>
            </a: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3DA45D05-3D3C-489C-B3FB-784A8CEE1315}"/>
              </a:ext>
            </a:extLst>
          </p:cNvPr>
          <p:cNvCxnSpPr>
            <a:cxnSpLocks/>
          </p:cNvCxnSpPr>
          <p:nvPr/>
        </p:nvCxnSpPr>
        <p:spPr>
          <a:xfrm>
            <a:off x="5024799" y="3742796"/>
            <a:ext cx="63225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E013178E-3A1F-4BAA-933F-D0A7D111DCB2}"/>
              </a:ext>
            </a:extLst>
          </p:cNvPr>
          <p:cNvCxnSpPr>
            <a:cxnSpLocks/>
          </p:cNvCxnSpPr>
          <p:nvPr/>
        </p:nvCxnSpPr>
        <p:spPr>
          <a:xfrm>
            <a:off x="9205437" y="3071949"/>
            <a:ext cx="738005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A4E24056-F253-428D-AE21-91B82ED3BE5F}"/>
              </a:ext>
            </a:extLst>
          </p:cNvPr>
          <p:cNvCxnSpPr>
            <a:cxnSpLocks/>
          </p:cNvCxnSpPr>
          <p:nvPr/>
        </p:nvCxnSpPr>
        <p:spPr>
          <a:xfrm>
            <a:off x="8559920" y="4705208"/>
            <a:ext cx="0" cy="303023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A39E508F-DB6A-4235-BEBE-08E3BBA79DB4}"/>
              </a:ext>
            </a:extLst>
          </p:cNvPr>
          <p:cNvCxnSpPr>
            <a:cxnSpLocks/>
          </p:cNvCxnSpPr>
          <p:nvPr/>
        </p:nvCxnSpPr>
        <p:spPr>
          <a:xfrm>
            <a:off x="9387696" y="5129556"/>
            <a:ext cx="555746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B1CBE449-AAD4-4EAA-A353-FB4F462B1CE8}"/>
              </a:ext>
            </a:extLst>
          </p:cNvPr>
          <p:cNvCxnSpPr>
            <a:cxnSpLocks/>
          </p:cNvCxnSpPr>
          <p:nvPr/>
        </p:nvCxnSpPr>
        <p:spPr>
          <a:xfrm>
            <a:off x="6877652" y="3742796"/>
            <a:ext cx="965820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9925AA2-C05D-4BCA-A21C-F20BF3DA8DF2}"/>
              </a:ext>
            </a:extLst>
          </p:cNvPr>
          <p:cNvGrpSpPr/>
          <p:nvPr/>
        </p:nvGrpSpPr>
        <p:grpSpPr>
          <a:xfrm>
            <a:off x="557273" y="4508312"/>
            <a:ext cx="528421" cy="404916"/>
            <a:chOff x="356915" y="4558566"/>
            <a:chExt cx="528421" cy="404916"/>
          </a:xfrm>
        </p:grpSpPr>
        <p:sp>
          <p:nvSpPr>
            <p:cNvPr id="128" name="Line 5">
              <a:extLst>
                <a:ext uri="{FF2B5EF4-FFF2-40B4-BE49-F238E27FC236}">
                  <a16:creationId xmlns:a16="http://schemas.microsoft.com/office/drawing/2014/main" id="{FE187F41-5AD2-4EF9-A467-9B8A656C99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724" y="4963482"/>
              <a:ext cx="106743" cy="0"/>
            </a:xfrm>
            <a:prstGeom prst="line">
              <a:avLst/>
            </a:prstGeom>
            <a:noFill/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057D5B9-03EE-46B5-AE73-3B35F381C832}"/>
                </a:ext>
              </a:extLst>
            </p:cNvPr>
            <p:cNvGrpSpPr/>
            <p:nvPr/>
          </p:nvGrpSpPr>
          <p:grpSpPr>
            <a:xfrm>
              <a:off x="397495" y="4784401"/>
              <a:ext cx="105861" cy="179081"/>
              <a:chOff x="397495" y="4784401"/>
              <a:chExt cx="105861" cy="179081"/>
            </a:xfrm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9CFD8E92-7BB9-4546-99CF-0715887D7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95" y="4784401"/>
                <a:ext cx="105861" cy="179081"/>
              </a:xfrm>
              <a:custGeom>
                <a:avLst/>
                <a:gdLst>
                  <a:gd name="T0" fmla="*/ 65 w 68"/>
                  <a:gd name="T1" fmla="*/ 114 h 114"/>
                  <a:gd name="T2" fmla="*/ 4 w 68"/>
                  <a:gd name="T3" fmla="*/ 114 h 114"/>
                  <a:gd name="T4" fmla="*/ 0 w 68"/>
                  <a:gd name="T5" fmla="*/ 110 h 114"/>
                  <a:gd name="T6" fmla="*/ 0 w 68"/>
                  <a:gd name="T7" fmla="*/ 4 h 114"/>
                  <a:gd name="T8" fmla="*/ 4 w 68"/>
                  <a:gd name="T9" fmla="*/ 0 h 114"/>
                  <a:gd name="T10" fmla="*/ 65 w 68"/>
                  <a:gd name="T11" fmla="*/ 0 h 114"/>
                  <a:gd name="T12" fmla="*/ 68 w 68"/>
                  <a:gd name="T13" fmla="*/ 4 h 114"/>
                  <a:gd name="T14" fmla="*/ 68 w 68"/>
                  <a:gd name="T15" fmla="*/ 110 h 114"/>
                  <a:gd name="T16" fmla="*/ 65 w 68"/>
                  <a:gd name="T1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114">
                    <a:moveTo>
                      <a:pt x="65" y="114"/>
                    </a:moveTo>
                    <a:cubicBezTo>
                      <a:pt x="4" y="114"/>
                      <a:pt x="4" y="114"/>
                      <a:pt x="4" y="114"/>
                    </a:cubicBezTo>
                    <a:cubicBezTo>
                      <a:pt x="2" y="114"/>
                      <a:pt x="0" y="112"/>
                      <a:pt x="0" y="1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7" y="0"/>
                      <a:pt x="68" y="2"/>
                      <a:pt x="68" y="4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2"/>
                      <a:pt x="67" y="114"/>
                      <a:pt x="65" y="114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4" name="Line 9">
                <a:extLst>
                  <a:ext uri="{FF2B5EF4-FFF2-40B4-BE49-F238E27FC236}">
                    <a16:creationId xmlns:a16="http://schemas.microsoft.com/office/drawing/2014/main" id="{D6913242-6E80-4FA6-8846-2DC834FE3C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8957" y="4925548"/>
                <a:ext cx="24701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35" name="Freeform 10">
              <a:extLst>
                <a:ext uri="{FF2B5EF4-FFF2-40B4-BE49-F238E27FC236}">
                  <a16:creationId xmlns:a16="http://schemas.microsoft.com/office/drawing/2014/main" id="{520CC27B-4A27-41DF-9E10-2637EEAA6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915" y="4558566"/>
              <a:ext cx="528421" cy="326403"/>
            </a:xfrm>
            <a:custGeom>
              <a:avLst/>
              <a:gdLst>
                <a:gd name="T0" fmla="*/ 0 w 338"/>
                <a:gd name="T1" fmla="*/ 93 h 208"/>
                <a:gd name="T2" fmla="*/ 0 w 338"/>
                <a:gd name="T3" fmla="*/ 10 h 208"/>
                <a:gd name="T4" fmla="*/ 10 w 338"/>
                <a:gd name="T5" fmla="*/ 0 h 208"/>
                <a:gd name="T6" fmla="*/ 328 w 338"/>
                <a:gd name="T7" fmla="*/ 0 h 208"/>
                <a:gd name="T8" fmla="*/ 338 w 338"/>
                <a:gd name="T9" fmla="*/ 10 h 208"/>
                <a:gd name="T10" fmla="*/ 338 w 338"/>
                <a:gd name="T11" fmla="*/ 198 h 208"/>
                <a:gd name="T12" fmla="*/ 328 w 338"/>
                <a:gd name="T13" fmla="*/ 208 h 208"/>
                <a:gd name="T14" fmla="*/ 242 w 338"/>
                <a:gd name="T15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8" h="208">
                  <a:moveTo>
                    <a:pt x="0" y="93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328" y="0"/>
                    <a:pt x="328" y="0"/>
                    <a:pt x="328" y="0"/>
                  </a:cubicBezTo>
                  <a:cubicBezTo>
                    <a:pt x="334" y="0"/>
                    <a:pt x="338" y="5"/>
                    <a:pt x="338" y="10"/>
                  </a:cubicBezTo>
                  <a:cubicBezTo>
                    <a:pt x="338" y="198"/>
                    <a:pt x="338" y="198"/>
                    <a:pt x="338" y="198"/>
                  </a:cubicBezTo>
                  <a:cubicBezTo>
                    <a:pt x="338" y="203"/>
                    <a:pt x="334" y="208"/>
                    <a:pt x="328" y="208"/>
                  </a:cubicBezTo>
                  <a:cubicBezTo>
                    <a:pt x="242" y="208"/>
                    <a:pt x="242" y="208"/>
                    <a:pt x="242" y="208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86DF976-F8BF-471C-BBD4-A887E7A56A1A}"/>
                </a:ext>
              </a:extLst>
            </p:cNvPr>
            <p:cNvGrpSpPr/>
            <p:nvPr/>
          </p:nvGrpSpPr>
          <p:grpSpPr>
            <a:xfrm>
              <a:off x="356915" y="4685598"/>
              <a:ext cx="378452" cy="277884"/>
              <a:chOff x="356915" y="4685598"/>
              <a:chExt cx="378452" cy="277884"/>
            </a:xfrm>
          </p:grpSpPr>
          <p:sp>
            <p:nvSpPr>
              <p:cNvPr id="133" name="Freeform 7">
                <a:extLst>
                  <a:ext uri="{FF2B5EF4-FFF2-40B4-BE49-F238E27FC236}">
                    <a16:creationId xmlns:a16="http://schemas.microsoft.com/office/drawing/2014/main" id="{D10236BD-70B9-4B22-93D2-6BC7ADACF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15" y="4685598"/>
                <a:ext cx="378452" cy="277884"/>
              </a:xfrm>
              <a:custGeom>
                <a:avLst/>
                <a:gdLst>
                  <a:gd name="T0" fmla="*/ 242 w 242"/>
                  <a:gd name="T1" fmla="*/ 165 h 177"/>
                  <a:gd name="T2" fmla="*/ 229 w 242"/>
                  <a:gd name="T3" fmla="*/ 177 h 177"/>
                  <a:gd name="T4" fmla="*/ 12 w 242"/>
                  <a:gd name="T5" fmla="*/ 177 h 177"/>
                  <a:gd name="T6" fmla="*/ 0 w 242"/>
                  <a:gd name="T7" fmla="*/ 165 h 177"/>
                  <a:gd name="T8" fmla="*/ 0 w 242"/>
                  <a:gd name="T9" fmla="*/ 12 h 177"/>
                  <a:gd name="T10" fmla="*/ 12 w 242"/>
                  <a:gd name="T11" fmla="*/ 0 h 177"/>
                  <a:gd name="T12" fmla="*/ 229 w 242"/>
                  <a:gd name="T13" fmla="*/ 0 h 177"/>
                  <a:gd name="T14" fmla="*/ 242 w 242"/>
                  <a:gd name="T15" fmla="*/ 12 h 177"/>
                  <a:gd name="T16" fmla="*/ 242 w 242"/>
                  <a:gd name="T17" fmla="*/ 165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2" h="177">
                    <a:moveTo>
                      <a:pt x="242" y="165"/>
                    </a:moveTo>
                    <a:cubicBezTo>
                      <a:pt x="242" y="172"/>
                      <a:pt x="236" y="177"/>
                      <a:pt x="229" y="177"/>
                    </a:cubicBezTo>
                    <a:cubicBezTo>
                      <a:pt x="12" y="177"/>
                      <a:pt x="12" y="177"/>
                      <a:pt x="12" y="177"/>
                    </a:cubicBezTo>
                    <a:cubicBezTo>
                      <a:pt x="6" y="177"/>
                      <a:pt x="0" y="172"/>
                      <a:pt x="0" y="16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236" y="0"/>
                      <a:pt x="242" y="5"/>
                      <a:pt x="242" y="12"/>
                    </a:cubicBezTo>
                    <a:lnTo>
                      <a:pt x="242" y="16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6" name="Line 9">
                <a:extLst>
                  <a:ext uri="{FF2B5EF4-FFF2-40B4-BE49-F238E27FC236}">
                    <a16:creationId xmlns:a16="http://schemas.microsoft.com/office/drawing/2014/main" id="{30745979-32A8-4669-99C8-46749D07BD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33790" y="4925548"/>
                <a:ext cx="24701" cy="0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A79524A-CDB1-416C-BC84-0830844D7619}"/>
              </a:ext>
            </a:extLst>
          </p:cNvPr>
          <p:cNvGrpSpPr/>
          <p:nvPr/>
        </p:nvGrpSpPr>
        <p:grpSpPr>
          <a:xfrm>
            <a:off x="557273" y="3281064"/>
            <a:ext cx="469737" cy="385154"/>
            <a:chOff x="1778647" y="1301093"/>
            <a:chExt cx="307813" cy="252387"/>
          </a:xfrm>
          <a:noFill/>
        </p:grpSpPr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68327355-F76B-4C67-97CA-7FD99C2F6579}"/>
                </a:ext>
              </a:extLst>
            </p:cNvPr>
            <p:cNvGrpSpPr/>
            <p:nvPr/>
          </p:nvGrpSpPr>
          <p:grpSpPr>
            <a:xfrm>
              <a:off x="1778647" y="1301093"/>
              <a:ext cx="307813" cy="252387"/>
              <a:chOff x="2107086" y="1452805"/>
              <a:chExt cx="307813" cy="252387"/>
            </a:xfrm>
            <a:grpFill/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2CE6022C-915D-4DDA-BA96-C74A82DB6E2E}"/>
                  </a:ext>
                </a:extLst>
              </p:cNvPr>
              <p:cNvSpPr/>
              <p:nvPr/>
            </p:nvSpPr>
            <p:spPr bwMode="auto">
              <a:xfrm>
                <a:off x="2107086" y="1596776"/>
                <a:ext cx="108416" cy="10841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A25AA2D7-6EA3-4418-AE46-C81B7D117693}"/>
                  </a:ext>
                </a:extLst>
              </p:cNvPr>
              <p:cNvSpPr/>
              <p:nvPr/>
            </p:nvSpPr>
            <p:spPr bwMode="auto">
              <a:xfrm>
                <a:off x="2252041" y="1452805"/>
                <a:ext cx="162858" cy="1628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C7D5D51B-B481-400C-995F-D96F516188A1}"/>
                  </a:ext>
                </a:extLst>
              </p:cNvPr>
              <p:cNvSpPr/>
              <p:nvPr/>
            </p:nvSpPr>
            <p:spPr bwMode="auto">
              <a:xfrm>
                <a:off x="2107086" y="1453330"/>
                <a:ext cx="108416" cy="10841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14358BF0-FACD-44B0-BFB9-E392D7B20A5E}"/>
                  </a:ext>
                </a:extLst>
              </p:cNvPr>
              <p:cNvSpPr/>
              <p:nvPr/>
            </p:nvSpPr>
            <p:spPr bwMode="auto">
              <a:xfrm>
                <a:off x="2253489" y="1652588"/>
                <a:ext cx="159337" cy="516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21A7CB8E-DD96-4C7B-92DD-CF7FF0C2C569}"/>
                </a:ext>
              </a:extLst>
            </p:cNvPr>
            <p:cNvCxnSpPr/>
            <p:nvPr/>
          </p:nvCxnSpPr>
          <p:spPr>
            <a:xfrm>
              <a:off x="1979319" y="1500876"/>
              <a:ext cx="0" cy="51699"/>
            </a:xfrm>
            <a:prstGeom prst="line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9D3D50D1-623B-4B5D-86AA-7AC69EFEB8BA}"/>
                </a:ext>
              </a:extLst>
            </p:cNvPr>
            <p:cNvCxnSpPr/>
            <p:nvPr/>
          </p:nvCxnSpPr>
          <p:spPr>
            <a:xfrm>
              <a:off x="2031707" y="1500876"/>
              <a:ext cx="0" cy="51699"/>
            </a:xfrm>
            <a:prstGeom prst="line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</p:cxnSp>
      </p:grpSp>
      <p:grpSp>
        <p:nvGrpSpPr>
          <p:cNvPr id="106" name="Group 105"/>
          <p:cNvGrpSpPr/>
          <p:nvPr/>
        </p:nvGrpSpPr>
        <p:grpSpPr>
          <a:xfrm rot="16200000">
            <a:off x="-275461" y="3620996"/>
            <a:ext cx="3901128" cy="172778"/>
            <a:chOff x="3142887" y="5221476"/>
            <a:chExt cx="781948" cy="172778"/>
          </a:xfrm>
        </p:grpSpPr>
        <p:sp>
          <p:nvSpPr>
            <p:cNvPr id="107" name="Freeform 106"/>
            <p:cNvSpPr/>
            <p:nvPr/>
          </p:nvSpPr>
          <p:spPr bwMode="auto">
            <a:xfrm rot="16200000">
              <a:off x="3490047" y="4959466"/>
              <a:ext cx="87628" cy="781948"/>
            </a:xfrm>
            <a:custGeom>
              <a:avLst/>
              <a:gdLst>
                <a:gd name="connsiteX0" fmla="*/ 5475 w 235444"/>
                <a:gd name="connsiteY0" fmla="*/ 0 h 3860192"/>
                <a:gd name="connsiteX1" fmla="*/ 235444 w 235444"/>
                <a:gd name="connsiteY1" fmla="*/ 0 h 3860192"/>
                <a:gd name="connsiteX2" fmla="*/ 235444 w 235444"/>
                <a:gd name="connsiteY2" fmla="*/ 3860192 h 3860192"/>
                <a:gd name="connsiteX3" fmla="*/ 0 w 235444"/>
                <a:gd name="connsiteY3" fmla="*/ 3860192 h 3860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444" h="3860192">
                  <a:moveTo>
                    <a:pt x="5475" y="0"/>
                  </a:moveTo>
                  <a:lnTo>
                    <a:pt x="235444" y="0"/>
                  </a:lnTo>
                  <a:lnTo>
                    <a:pt x="235444" y="3860192"/>
                  </a:lnTo>
                  <a:lnTo>
                    <a:pt x="0" y="3860192"/>
                  </a:lnTo>
                </a:path>
              </a:pathLst>
            </a:custGeom>
            <a:noFill/>
            <a:ln w="12700">
              <a:solidFill>
                <a:schemeClr val="tx2"/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111"/>
            <p:cNvSpPr/>
            <p:nvPr/>
          </p:nvSpPr>
          <p:spPr bwMode="auto">
            <a:xfrm rot="16200000">
              <a:off x="3539973" y="5216947"/>
              <a:ext cx="81318" cy="90376"/>
            </a:xfrm>
            <a:custGeom>
              <a:avLst/>
              <a:gdLst>
                <a:gd name="connsiteX0" fmla="*/ 0 w 171450"/>
                <a:gd name="connsiteY0" fmla="*/ 161925 h 161925"/>
                <a:gd name="connsiteX1" fmla="*/ 0 w 171450"/>
                <a:gd name="connsiteY1" fmla="*/ 0 h 161925"/>
                <a:gd name="connsiteX2" fmla="*/ 171450 w 171450"/>
                <a:gd name="connsiteY2" fmla="*/ 0 h 161925"/>
                <a:gd name="connsiteX0" fmla="*/ 0 w 171450"/>
                <a:gd name="connsiteY0" fmla="*/ 0 h 0"/>
                <a:gd name="connsiteX1" fmla="*/ 171450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0" y="0"/>
                  </a:moveTo>
                  <a:lnTo>
                    <a:pt x="171450" y="0"/>
                  </a:lnTo>
                </a:path>
              </a:pathLst>
            </a:custGeom>
            <a:noFill/>
            <a:ln w="12700">
              <a:solidFill>
                <a:schemeClr val="tx2"/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242" name="Straight Arrow Connector 241">
            <a:extLst>
              <a:ext uri="{FF2B5EF4-FFF2-40B4-BE49-F238E27FC236}">
                <a16:creationId xmlns:a16="http://schemas.microsoft.com/office/drawing/2014/main" id="{B1F83E43-B438-4CC2-9C70-2EA0E3C0D346}"/>
              </a:ext>
            </a:extLst>
          </p:cNvPr>
          <p:cNvCxnSpPr>
            <a:cxnSpLocks/>
          </p:cNvCxnSpPr>
          <p:nvPr/>
        </p:nvCxnSpPr>
        <p:spPr>
          <a:xfrm>
            <a:off x="9086563" y="4443687"/>
            <a:ext cx="85687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Arrow Connector 244">
            <a:extLst>
              <a:ext uri="{FF2B5EF4-FFF2-40B4-BE49-F238E27FC236}">
                <a16:creationId xmlns:a16="http://schemas.microsoft.com/office/drawing/2014/main" id="{D9E813E0-412C-4A79-92EA-2E01CAB62435}"/>
              </a:ext>
            </a:extLst>
          </p:cNvPr>
          <p:cNvCxnSpPr>
            <a:cxnSpLocks/>
          </p:cNvCxnSpPr>
          <p:nvPr/>
        </p:nvCxnSpPr>
        <p:spPr>
          <a:xfrm>
            <a:off x="6381287" y="4083563"/>
            <a:ext cx="0" cy="518104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 171">
            <a:extLst>
              <a:ext uri="{FF2B5EF4-FFF2-40B4-BE49-F238E27FC236}">
                <a16:creationId xmlns:a16="http://schemas.microsoft.com/office/drawing/2014/main" id="{1234332F-CF2C-4E51-B83A-3F9A1E4F4E69}"/>
              </a:ext>
            </a:extLst>
          </p:cNvPr>
          <p:cNvSpPr/>
          <p:nvPr/>
        </p:nvSpPr>
        <p:spPr>
          <a:xfrm>
            <a:off x="2242430" y="4579578"/>
            <a:ext cx="97158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Event Hub</a:t>
            </a:r>
          </a:p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IoT Hub</a:t>
            </a:r>
          </a:p>
        </p:txBody>
      </p: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237BF570-83FA-45B2-9D97-83277C1D369D}"/>
              </a:ext>
            </a:extLst>
          </p:cNvPr>
          <p:cNvCxnSpPr>
            <a:cxnSpLocks/>
          </p:cNvCxnSpPr>
          <p:nvPr/>
        </p:nvCxnSpPr>
        <p:spPr>
          <a:xfrm>
            <a:off x="2773830" y="3757818"/>
            <a:ext cx="1060515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9D79C7B-4D95-4676-AF76-A342F365709C}"/>
              </a:ext>
            </a:extLst>
          </p:cNvPr>
          <p:cNvSpPr/>
          <p:nvPr/>
        </p:nvSpPr>
        <p:spPr>
          <a:xfrm>
            <a:off x="8223812" y="3627725"/>
            <a:ext cx="116388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QL Database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9293B4D1-A604-4045-B92A-E8D9EBF0494D}"/>
              </a:ext>
            </a:extLst>
          </p:cNvPr>
          <p:cNvCxnSpPr>
            <a:cxnSpLocks/>
          </p:cNvCxnSpPr>
          <p:nvPr/>
        </p:nvCxnSpPr>
        <p:spPr>
          <a:xfrm>
            <a:off x="9276369" y="3757818"/>
            <a:ext cx="667073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75D8FE7D-B2EB-4D3C-95D3-25D5D1A49754}"/>
              </a:ext>
            </a:extLst>
          </p:cNvPr>
          <p:cNvCxnSpPr>
            <a:cxnSpLocks/>
          </p:cNvCxnSpPr>
          <p:nvPr/>
        </p:nvCxnSpPr>
        <p:spPr>
          <a:xfrm>
            <a:off x="8559920" y="3897772"/>
            <a:ext cx="0" cy="303023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DA4A6BBE-8BF6-4DC6-B035-7DCE23D7EEB3}"/>
              </a:ext>
            </a:extLst>
          </p:cNvPr>
          <p:cNvCxnSpPr>
            <a:cxnSpLocks/>
          </p:cNvCxnSpPr>
          <p:nvPr/>
        </p:nvCxnSpPr>
        <p:spPr>
          <a:xfrm>
            <a:off x="8559920" y="3245233"/>
            <a:ext cx="0" cy="303023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0" name="Group 279">
            <a:extLst>
              <a:ext uri="{FF2B5EF4-FFF2-40B4-BE49-F238E27FC236}">
                <a16:creationId xmlns:a16="http://schemas.microsoft.com/office/drawing/2014/main" id="{61C6692B-58A5-4E9B-A5CB-63A6E3C09744}"/>
              </a:ext>
            </a:extLst>
          </p:cNvPr>
          <p:cNvGrpSpPr/>
          <p:nvPr/>
        </p:nvGrpSpPr>
        <p:grpSpPr>
          <a:xfrm>
            <a:off x="10091938" y="1764981"/>
            <a:ext cx="1627965" cy="3821788"/>
            <a:chOff x="9888738" y="1697248"/>
            <a:chExt cx="1627965" cy="3821788"/>
          </a:xfrm>
        </p:grpSpPr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50E4ACD9-D4C9-4C86-AA94-F48231962823}"/>
                </a:ext>
              </a:extLst>
            </p:cNvPr>
            <p:cNvGrpSpPr/>
            <p:nvPr/>
          </p:nvGrpSpPr>
          <p:grpSpPr>
            <a:xfrm>
              <a:off x="9888738" y="2321508"/>
              <a:ext cx="1627965" cy="3197528"/>
              <a:chOff x="9890197" y="2012459"/>
              <a:chExt cx="1647758" cy="3499846"/>
            </a:xfrm>
          </p:grpSpPr>
          <p:sp>
            <p:nvSpPr>
              <p:cNvPr id="299" name="Shape 101"/>
              <p:cNvSpPr txBox="1"/>
              <p:nvPr/>
            </p:nvSpPr>
            <p:spPr>
              <a:xfrm>
                <a:off x="9950280" y="5234427"/>
                <a:ext cx="1534447" cy="2778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spAutoFit/>
              </a:bodyPr>
              <a:lstStyle/>
              <a:p>
                <a:pPr marL="0" marR="0" lvl="0" indent="0" algn="l" defTabSz="9325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Analytical dashboards</a:t>
                </a:r>
              </a:p>
            </p:txBody>
          </p:sp>
          <p:sp>
            <p:nvSpPr>
              <p:cNvPr id="308" name="Shape 101"/>
              <p:cNvSpPr txBox="1"/>
              <p:nvPr/>
            </p:nvSpPr>
            <p:spPr>
              <a:xfrm>
                <a:off x="9890197" y="2997577"/>
                <a:ext cx="1647758" cy="2778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25" tIns="45700" rIns="91425" bIns="45700" anchor="t" anchorCtr="0">
                <a:spAutoFit/>
              </a:bodyPr>
              <a:lstStyle/>
              <a:p>
                <a:pPr marL="0" marR="0" lvl="0" indent="0" algn="ctr" defTabSz="9325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Predictive apps</a:t>
                </a:r>
              </a:p>
            </p:txBody>
          </p:sp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22E8DFDF-851C-4A6F-81C3-B619382A1014}"/>
                  </a:ext>
                </a:extLst>
              </p:cNvPr>
              <p:cNvGrpSpPr/>
              <p:nvPr/>
            </p:nvGrpSpPr>
            <p:grpSpPr>
              <a:xfrm>
                <a:off x="10295203" y="2012459"/>
                <a:ext cx="825028" cy="901901"/>
                <a:chOff x="9095124" y="3288299"/>
                <a:chExt cx="916056" cy="1001411"/>
              </a:xfrm>
            </p:grpSpPr>
            <p:grpSp>
              <p:nvGrpSpPr>
                <p:cNvPr id="142" name="Group 141">
                  <a:extLst>
                    <a:ext uri="{FF2B5EF4-FFF2-40B4-BE49-F238E27FC236}">
                      <a16:creationId xmlns:a16="http://schemas.microsoft.com/office/drawing/2014/main" id="{F697DCF1-93EF-4827-A8D8-C2A9855298C3}"/>
                    </a:ext>
                  </a:extLst>
                </p:cNvPr>
                <p:cNvGrpSpPr/>
                <p:nvPr/>
              </p:nvGrpSpPr>
              <p:grpSpPr>
                <a:xfrm>
                  <a:off x="9615713" y="3659076"/>
                  <a:ext cx="288492" cy="206742"/>
                  <a:chOff x="3751869" y="1754414"/>
                  <a:chExt cx="4688258" cy="3381830"/>
                </a:xfrm>
              </p:grpSpPr>
              <p:sp>
                <p:nvSpPr>
                  <p:cNvPr id="162" name="Freeform: Shape 132">
                    <a:extLst>
                      <a:ext uri="{FF2B5EF4-FFF2-40B4-BE49-F238E27FC236}">
                        <a16:creationId xmlns:a16="http://schemas.microsoft.com/office/drawing/2014/main" id="{7E447AF6-8D0A-4471-AEB3-C6EF097B224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751869" y="1754414"/>
                    <a:ext cx="1605717" cy="3381830"/>
                  </a:xfrm>
                  <a:custGeom>
                    <a:avLst/>
                    <a:gdLst>
                      <a:gd name="connsiteX0" fmla="*/ 1605716 w 1884207"/>
                      <a:gd name="connsiteY0" fmla="*/ 0 h 3381830"/>
                      <a:gd name="connsiteX1" fmla="*/ 1884206 w 1884207"/>
                      <a:gd name="connsiteY1" fmla="*/ 278490 h 3381830"/>
                      <a:gd name="connsiteX2" fmla="*/ 471783 w 1884207"/>
                      <a:gd name="connsiteY2" fmla="*/ 1690914 h 3381830"/>
                      <a:gd name="connsiteX3" fmla="*/ 1884207 w 1884207"/>
                      <a:gd name="connsiteY3" fmla="*/ 3103339 h 3381830"/>
                      <a:gd name="connsiteX4" fmla="*/ 1605717 w 1884207"/>
                      <a:gd name="connsiteY4" fmla="*/ 3381830 h 3381830"/>
                      <a:gd name="connsiteX5" fmla="*/ 60246 w 1884207"/>
                      <a:gd name="connsiteY5" fmla="*/ 1836358 h 3381830"/>
                      <a:gd name="connsiteX6" fmla="*/ 60246 w 1884207"/>
                      <a:gd name="connsiteY6" fmla="*/ 1545470 h 3381830"/>
                      <a:gd name="connsiteX7" fmla="*/ 1605716 w 1884207"/>
                      <a:gd name="connsiteY7" fmla="*/ 0 h 3381830"/>
                      <a:gd name="connsiteX0" fmla="*/ 1605716 w 1884207"/>
                      <a:gd name="connsiteY0" fmla="*/ 0 h 3381830"/>
                      <a:gd name="connsiteX1" fmla="*/ 1884206 w 1884207"/>
                      <a:gd name="connsiteY1" fmla="*/ 278490 h 3381830"/>
                      <a:gd name="connsiteX2" fmla="*/ 1884207 w 1884207"/>
                      <a:gd name="connsiteY2" fmla="*/ 3103339 h 3381830"/>
                      <a:gd name="connsiteX3" fmla="*/ 1605717 w 1884207"/>
                      <a:gd name="connsiteY3" fmla="*/ 3381830 h 3381830"/>
                      <a:gd name="connsiteX4" fmla="*/ 60246 w 1884207"/>
                      <a:gd name="connsiteY4" fmla="*/ 1836358 h 3381830"/>
                      <a:gd name="connsiteX5" fmla="*/ 60246 w 1884207"/>
                      <a:gd name="connsiteY5" fmla="*/ 1545470 h 3381830"/>
                      <a:gd name="connsiteX6" fmla="*/ 1605716 w 1884207"/>
                      <a:gd name="connsiteY6" fmla="*/ 0 h 3381830"/>
                      <a:gd name="connsiteX0" fmla="*/ 1884207 w 1975647"/>
                      <a:gd name="connsiteY0" fmla="*/ 3103339 h 3381830"/>
                      <a:gd name="connsiteX1" fmla="*/ 1605717 w 1975647"/>
                      <a:gd name="connsiteY1" fmla="*/ 3381830 h 3381830"/>
                      <a:gd name="connsiteX2" fmla="*/ 60246 w 1975647"/>
                      <a:gd name="connsiteY2" fmla="*/ 1836358 h 3381830"/>
                      <a:gd name="connsiteX3" fmla="*/ 60246 w 1975647"/>
                      <a:gd name="connsiteY3" fmla="*/ 1545470 h 3381830"/>
                      <a:gd name="connsiteX4" fmla="*/ 1605716 w 1975647"/>
                      <a:gd name="connsiteY4" fmla="*/ 0 h 3381830"/>
                      <a:gd name="connsiteX5" fmla="*/ 1884206 w 1975647"/>
                      <a:gd name="connsiteY5" fmla="*/ 278490 h 3381830"/>
                      <a:gd name="connsiteX6" fmla="*/ 1975647 w 1975647"/>
                      <a:gd name="connsiteY6" fmla="*/ 3194779 h 3381830"/>
                      <a:gd name="connsiteX0" fmla="*/ 1884207 w 1884207"/>
                      <a:gd name="connsiteY0" fmla="*/ 3103339 h 3381830"/>
                      <a:gd name="connsiteX1" fmla="*/ 1605717 w 1884207"/>
                      <a:gd name="connsiteY1" fmla="*/ 3381830 h 3381830"/>
                      <a:gd name="connsiteX2" fmla="*/ 60246 w 1884207"/>
                      <a:gd name="connsiteY2" fmla="*/ 1836358 h 3381830"/>
                      <a:gd name="connsiteX3" fmla="*/ 60246 w 1884207"/>
                      <a:gd name="connsiteY3" fmla="*/ 1545470 h 3381830"/>
                      <a:gd name="connsiteX4" fmla="*/ 1605716 w 1884207"/>
                      <a:gd name="connsiteY4" fmla="*/ 0 h 3381830"/>
                      <a:gd name="connsiteX5" fmla="*/ 1884206 w 1884207"/>
                      <a:gd name="connsiteY5" fmla="*/ 278490 h 3381830"/>
                      <a:gd name="connsiteX0" fmla="*/ 1884207 w 1884207"/>
                      <a:gd name="connsiteY0" fmla="*/ 3103339 h 3381830"/>
                      <a:gd name="connsiteX1" fmla="*/ 1605717 w 1884207"/>
                      <a:gd name="connsiteY1" fmla="*/ 3381830 h 3381830"/>
                      <a:gd name="connsiteX2" fmla="*/ 60246 w 1884207"/>
                      <a:gd name="connsiteY2" fmla="*/ 1836358 h 3381830"/>
                      <a:gd name="connsiteX3" fmla="*/ 60246 w 1884207"/>
                      <a:gd name="connsiteY3" fmla="*/ 1545470 h 3381830"/>
                      <a:gd name="connsiteX4" fmla="*/ 1605716 w 1884207"/>
                      <a:gd name="connsiteY4" fmla="*/ 0 h 3381830"/>
                      <a:gd name="connsiteX0" fmla="*/ 1605717 w 1605717"/>
                      <a:gd name="connsiteY0" fmla="*/ 3381830 h 3381830"/>
                      <a:gd name="connsiteX1" fmla="*/ 60246 w 1605717"/>
                      <a:gd name="connsiteY1" fmla="*/ 1836358 h 3381830"/>
                      <a:gd name="connsiteX2" fmla="*/ 60246 w 1605717"/>
                      <a:gd name="connsiteY2" fmla="*/ 1545470 h 3381830"/>
                      <a:gd name="connsiteX3" fmla="*/ 1605716 w 1605717"/>
                      <a:gd name="connsiteY3" fmla="*/ 0 h 33818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05717" h="3381830">
                        <a:moveTo>
                          <a:pt x="1605717" y="3381830"/>
                        </a:moveTo>
                        <a:lnTo>
                          <a:pt x="60246" y="1836358"/>
                        </a:lnTo>
                        <a:cubicBezTo>
                          <a:pt x="-20081" y="1756032"/>
                          <a:pt x="-20081" y="1625797"/>
                          <a:pt x="60246" y="1545470"/>
                        </a:cubicBezTo>
                        <a:lnTo>
                          <a:pt x="1605716" y="0"/>
                        </a:lnTo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3" name="Freeform: Shape 133">
                    <a:extLst>
                      <a:ext uri="{FF2B5EF4-FFF2-40B4-BE49-F238E27FC236}">
                        <a16:creationId xmlns:a16="http://schemas.microsoft.com/office/drawing/2014/main" id="{EA62FB34-E7A9-46D8-BD2C-EA9A8BEF017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834412" y="1754415"/>
                    <a:ext cx="1605715" cy="3381828"/>
                  </a:xfrm>
                  <a:custGeom>
                    <a:avLst/>
                    <a:gdLst>
                      <a:gd name="connsiteX0" fmla="*/ 278491 w 1884205"/>
                      <a:gd name="connsiteY0" fmla="*/ 0 h 3381828"/>
                      <a:gd name="connsiteX1" fmla="*/ 1823961 w 1884205"/>
                      <a:gd name="connsiteY1" fmla="*/ 1545469 h 3381828"/>
                      <a:gd name="connsiteX2" fmla="*/ 1823961 w 1884205"/>
                      <a:gd name="connsiteY2" fmla="*/ 1836357 h 3381828"/>
                      <a:gd name="connsiteX3" fmla="*/ 278490 w 1884205"/>
                      <a:gd name="connsiteY3" fmla="*/ 3381828 h 3381828"/>
                      <a:gd name="connsiteX4" fmla="*/ 0 w 1884205"/>
                      <a:gd name="connsiteY4" fmla="*/ 3103337 h 3381828"/>
                      <a:gd name="connsiteX5" fmla="*/ 1412423 w 1884205"/>
                      <a:gd name="connsiteY5" fmla="*/ 1690912 h 3381828"/>
                      <a:gd name="connsiteX6" fmla="*/ 1 w 1884205"/>
                      <a:gd name="connsiteY6" fmla="*/ 278491 h 3381828"/>
                      <a:gd name="connsiteX7" fmla="*/ 278491 w 1884205"/>
                      <a:gd name="connsiteY7" fmla="*/ 0 h 3381828"/>
                      <a:gd name="connsiteX0" fmla="*/ 1412423 w 1884205"/>
                      <a:gd name="connsiteY0" fmla="*/ 1690912 h 3381828"/>
                      <a:gd name="connsiteX1" fmla="*/ 1 w 1884205"/>
                      <a:gd name="connsiteY1" fmla="*/ 278491 h 3381828"/>
                      <a:gd name="connsiteX2" fmla="*/ 278491 w 1884205"/>
                      <a:gd name="connsiteY2" fmla="*/ 0 h 3381828"/>
                      <a:gd name="connsiteX3" fmla="*/ 1823961 w 1884205"/>
                      <a:gd name="connsiteY3" fmla="*/ 1545469 h 3381828"/>
                      <a:gd name="connsiteX4" fmla="*/ 1823961 w 1884205"/>
                      <a:gd name="connsiteY4" fmla="*/ 1836357 h 3381828"/>
                      <a:gd name="connsiteX5" fmla="*/ 278490 w 1884205"/>
                      <a:gd name="connsiteY5" fmla="*/ 3381828 h 3381828"/>
                      <a:gd name="connsiteX6" fmla="*/ 0 w 1884205"/>
                      <a:gd name="connsiteY6" fmla="*/ 3103337 h 3381828"/>
                      <a:gd name="connsiteX7" fmla="*/ 1503863 w 1884205"/>
                      <a:gd name="connsiteY7" fmla="*/ 1782352 h 3381828"/>
                      <a:gd name="connsiteX0" fmla="*/ 1412423 w 1884205"/>
                      <a:gd name="connsiteY0" fmla="*/ 1690912 h 3381828"/>
                      <a:gd name="connsiteX1" fmla="*/ 1 w 1884205"/>
                      <a:gd name="connsiteY1" fmla="*/ 278491 h 3381828"/>
                      <a:gd name="connsiteX2" fmla="*/ 278491 w 1884205"/>
                      <a:gd name="connsiteY2" fmla="*/ 0 h 3381828"/>
                      <a:gd name="connsiteX3" fmla="*/ 1823961 w 1884205"/>
                      <a:gd name="connsiteY3" fmla="*/ 1545469 h 3381828"/>
                      <a:gd name="connsiteX4" fmla="*/ 1823961 w 1884205"/>
                      <a:gd name="connsiteY4" fmla="*/ 1836357 h 3381828"/>
                      <a:gd name="connsiteX5" fmla="*/ 278490 w 1884205"/>
                      <a:gd name="connsiteY5" fmla="*/ 3381828 h 3381828"/>
                      <a:gd name="connsiteX6" fmla="*/ 0 w 1884205"/>
                      <a:gd name="connsiteY6" fmla="*/ 3103337 h 3381828"/>
                      <a:gd name="connsiteX0" fmla="*/ 1 w 1884205"/>
                      <a:gd name="connsiteY0" fmla="*/ 278491 h 3381828"/>
                      <a:gd name="connsiteX1" fmla="*/ 278491 w 1884205"/>
                      <a:gd name="connsiteY1" fmla="*/ 0 h 3381828"/>
                      <a:gd name="connsiteX2" fmla="*/ 1823961 w 1884205"/>
                      <a:gd name="connsiteY2" fmla="*/ 1545469 h 3381828"/>
                      <a:gd name="connsiteX3" fmla="*/ 1823961 w 1884205"/>
                      <a:gd name="connsiteY3" fmla="*/ 1836357 h 3381828"/>
                      <a:gd name="connsiteX4" fmla="*/ 278490 w 1884205"/>
                      <a:gd name="connsiteY4" fmla="*/ 3381828 h 3381828"/>
                      <a:gd name="connsiteX5" fmla="*/ 0 w 1884205"/>
                      <a:gd name="connsiteY5" fmla="*/ 3103337 h 3381828"/>
                      <a:gd name="connsiteX0" fmla="*/ 0 w 1884204"/>
                      <a:gd name="connsiteY0" fmla="*/ 278491 h 3381828"/>
                      <a:gd name="connsiteX1" fmla="*/ 278490 w 1884204"/>
                      <a:gd name="connsiteY1" fmla="*/ 0 h 3381828"/>
                      <a:gd name="connsiteX2" fmla="*/ 1823960 w 1884204"/>
                      <a:gd name="connsiteY2" fmla="*/ 1545469 h 3381828"/>
                      <a:gd name="connsiteX3" fmla="*/ 1823960 w 1884204"/>
                      <a:gd name="connsiteY3" fmla="*/ 1836357 h 3381828"/>
                      <a:gd name="connsiteX4" fmla="*/ 278489 w 1884204"/>
                      <a:gd name="connsiteY4" fmla="*/ 3381828 h 3381828"/>
                      <a:gd name="connsiteX0" fmla="*/ 1 w 1605715"/>
                      <a:gd name="connsiteY0" fmla="*/ 0 h 3381828"/>
                      <a:gd name="connsiteX1" fmla="*/ 1545471 w 1605715"/>
                      <a:gd name="connsiteY1" fmla="*/ 1545469 h 3381828"/>
                      <a:gd name="connsiteX2" fmla="*/ 1545471 w 1605715"/>
                      <a:gd name="connsiteY2" fmla="*/ 1836357 h 3381828"/>
                      <a:gd name="connsiteX3" fmla="*/ 0 w 1605715"/>
                      <a:gd name="connsiteY3" fmla="*/ 3381828 h 33818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05715" h="3381828">
                        <a:moveTo>
                          <a:pt x="1" y="0"/>
                        </a:moveTo>
                        <a:lnTo>
                          <a:pt x="1545471" y="1545469"/>
                        </a:lnTo>
                        <a:cubicBezTo>
                          <a:pt x="1625797" y="1625796"/>
                          <a:pt x="1625797" y="1756031"/>
                          <a:pt x="1545471" y="1836357"/>
                        </a:cubicBezTo>
                        <a:lnTo>
                          <a:pt x="0" y="3381828"/>
                        </a:lnTo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4" name="Freeform: Shape 134">
                    <a:extLst>
                      <a:ext uri="{FF2B5EF4-FFF2-40B4-BE49-F238E27FC236}">
                        <a16:creationId xmlns:a16="http://schemas.microsoft.com/office/drawing/2014/main" id="{951E7792-D8A9-4F6C-A8ED-9ACF3688E6E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154384" y="3131457"/>
                    <a:ext cx="627742" cy="627742"/>
                  </a:xfrm>
                  <a:custGeom>
                    <a:avLst/>
                    <a:gdLst>
                      <a:gd name="connsiteX0" fmla="*/ 250371 w 500742"/>
                      <a:gd name="connsiteY0" fmla="*/ 0 h 500742"/>
                      <a:gd name="connsiteX1" fmla="*/ 500742 w 500742"/>
                      <a:gd name="connsiteY1" fmla="*/ 250371 h 500742"/>
                      <a:gd name="connsiteX2" fmla="*/ 250371 w 500742"/>
                      <a:gd name="connsiteY2" fmla="*/ 500742 h 500742"/>
                      <a:gd name="connsiteX3" fmla="*/ 0 w 500742"/>
                      <a:gd name="connsiteY3" fmla="*/ 250371 h 500742"/>
                      <a:gd name="connsiteX4" fmla="*/ 250371 w 500742"/>
                      <a:gd name="connsiteY4" fmla="*/ 0 h 500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0742" h="500742">
                        <a:moveTo>
                          <a:pt x="250371" y="0"/>
                        </a:moveTo>
                        <a:cubicBezTo>
                          <a:pt x="388647" y="0"/>
                          <a:pt x="500742" y="112095"/>
                          <a:pt x="500742" y="250371"/>
                        </a:cubicBezTo>
                        <a:cubicBezTo>
                          <a:pt x="500742" y="388647"/>
                          <a:pt x="388647" y="500742"/>
                          <a:pt x="250371" y="500742"/>
                        </a:cubicBezTo>
                        <a:cubicBezTo>
                          <a:pt x="112095" y="500742"/>
                          <a:pt x="0" y="388647"/>
                          <a:pt x="0" y="250371"/>
                        </a:cubicBezTo>
                        <a:cubicBezTo>
                          <a:pt x="0" y="112095"/>
                          <a:pt x="112095" y="0"/>
                          <a:pt x="250371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165" name="Freeform: Shape 135">
                    <a:extLst>
                      <a:ext uri="{FF2B5EF4-FFF2-40B4-BE49-F238E27FC236}">
                        <a16:creationId xmlns:a16="http://schemas.microsoft.com/office/drawing/2014/main" id="{DB12C2FC-53B5-4533-964B-4FFA3F46AD5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409870" y="3131457"/>
                    <a:ext cx="627742" cy="627742"/>
                  </a:xfrm>
                  <a:custGeom>
                    <a:avLst/>
                    <a:gdLst>
                      <a:gd name="connsiteX0" fmla="*/ 250371 w 500742"/>
                      <a:gd name="connsiteY0" fmla="*/ 0 h 500742"/>
                      <a:gd name="connsiteX1" fmla="*/ 500742 w 500742"/>
                      <a:gd name="connsiteY1" fmla="*/ 250371 h 500742"/>
                      <a:gd name="connsiteX2" fmla="*/ 250371 w 500742"/>
                      <a:gd name="connsiteY2" fmla="*/ 500742 h 500742"/>
                      <a:gd name="connsiteX3" fmla="*/ 0 w 500742"/>
                      <a:gd name="connsiteY3" fmla="*/ 250371 h 500742"/>
                      <a:gd name="connsiteX4" fmla="*/ 250371 w 500742"/>
                      <a:gd name="connsiteY4" fmla="*/ 0 h 500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0742" h="500742">
                        <a:moveTo>
                          <a:pt x="250371" y="0"/>
                        </a:moveTo>
                        <a:cubicBezTo>
                          <a:pt x="388647" y="0"/>
                          <a:pt x="500742" y="112095"/>
                          <a:pt x="500742" y="250371"/>
                        </a:cubicBezTo>
                        <a:cubicBezTo>
                          <a:pt x="500742" y="388647"/>
                          <a:pt x="388647" y="500742"/>
                          <a:pt x="250371" y="500742"/>
                        </a:cubicBezTo>
                        <a:cubicBezTo>
                          <a:pt x="112095" y="500742"/>
                          <a:pt x="0" y="388647"/>
                          <a:pt x="0" y="250371"/>
                        </a:cubicBezTo>
                        <a:cubicBezTo>
                          <a:pt x="0" y="112095"/>
                          <a:pt x="112095" y="0"/>
                          <a:pt x="250371" y="0"/>
                        </a:cubicBezTo>
                        <a:close/>
                      </a:path>
                    </a:pathLst>
                  </a:custGeom>
                  <a:noFill/>
                  <a:ln w="1270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32472" rtl="0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143" name="Group 142">
                  <a:extLst>
                    <a:ext uri="{FF2B5EF4-FFF2-40B4-BE49-F238E27FC236}">
                      <a16:creationId xmlns:a16="http://schemas.microsoft.com/office/drawing/2014/main" id="{765AC8AD-A6DB-42E1-A88A-6136F61E9EF6}"/>
                    </a:ext>
                  </a:extLst>
                </p:cNvPr>
                <p:cNvGrpSpPr/>
                <p:nvPr/>
              </p:nvGrpSpPr>
              <p:grpSpPr>
                <a:xfrm>
                  <a:off x="9529086" y="3345220"/>
                  <a:ext cx="202925" cy="182040"/>
                  <a:chOff x="2974863" y="1824177"/>
                  <a:chExt cx="285701" cy="257980"/>
                </a:xfrm>
                <a:noFill/>
              </p:grpSpPr>
              <p:sp>
                <p:nvSpPr>
                  <p:cNvPr id="157" name="Rectangle 48">
                    <a:extLst>
                      <a:ext uri="{FF2B5EF4-FFF2-40B4-BE49-F238E27FC236}">
                        <a16:creationId xmlns:a16="http://schemas.microsoft.com/office/drawing/2014/main" id="{846B51E2-F4BD-4E4E-84D8-E30258A2040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4866" y="1824177"/>
                    <a:ext cx="285698" cy="257980"/>
                  </a:xfrm>
                  <a:prstGeom prst="rect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8" name="Freeform 49">
                    <a:extLst>
                      <a:ext uri="{FF2B5EF4-FFF2-40B4-BE49-F238E27FC236}">
                        <a16:creationId xmlns:a16="http://schemas.microsoft.com/office/drawing/2014/main" id="{8DE7FEB3-ACF2-460F-A271-A2BBA7F631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74863" y="1929714"/>
                    <a:ext cx="285697" cy="140716"/>
                  </a:xfrm>
                  <a:custGeom>
                    <a:avLst/>
                    <a:gdLst>
                      <a:gd name="T0" fmla="*/ 268 w 268"/>
                      <a:gd name="T1" fmla="*/ 132 h 132"/>
                      <a:gd name="T2" fmla="*/ 179 w 268"/>
                      <a:gd name="T3" fmla="*/ 44 h 132"/>
                      <a:gd name="T4" fmla="*/ 156 w 268"/>
                      <a:gd name="T5" fmla="*/ 66 h 132"/>
                      <a:gd name="T6" fmla="*/ 89 w 268"/>
                      <a:gd name="T7" fmla="*/ 0 h 132"/>
                      <a:gd name="T8" fmla="*/ 0 w 268"/>
                      <a:gd name="T9" fmla="*/ 88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8" h="132">
                        <a:moveTo>
                          <a:pt x="268" y="132"/>
                        </a:moveTo>
                        <a:lnTo>
                          <a:pt x="179" y="44"/>
                        </a:lnTo>
                        <a:lnTo>
                          <a:pt x="156" y="66"/>
                        </a:lnTo>
                        <a:lnTo>
                          <a:pt x="89" y="0"/>
                        </a:lnTo>
                        <a:lnTo>
                          <a:pt x="0" y="88"/>
                        </a:lnTo>
                      </a:path>
                    </a:pathLst>
                  </a:cu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1" name="Oval 160">
                    <a:extLst>
                      <a:ext uri="{FF2B5EF4-FFF2-40B4-BE49-F238E27FC236}">
                        <a16:creationId xmlns:a16="http://schemas.microsoft.com/office/drawing/2014/main" id="{DD3FA9B3-6754-48CC-8D7C-C67C08C6F3E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65681" y="1871082"/>
                    <a:ext cx="47971" cy="46905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4" name="Freeform 9">
                  <a:extLst>
                    <a:ext uri="{FF2B5EF4-FFF2-40B4-BE49-F238E27FC236}">
                      <a16:creationId xmlns:a16="http://schemas.microsoft.com/office/drawing/2014/main" id="{5754EDA7-6DCC-4DD7-BCB4-09104A48C1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95124" y="4049312"/>
                  <a:ext cx="325830" cy="237430"/>
                </a:xfrm>
                <a:custGeom>
                  <a:avLst/>
                  <a:gdLst>
                    <a:gd name="T0" fmla="*/ 3748 w 3748"/>
                    <a:gd name="T1" fmla="*/ 2562 h 2749"/>
                    <a:gd name="T2" fmla="*/ 3561 w 3748"/>
                    <a:gd name="T3" fmla="*/ 2749 h 2749"/>
                    <a:gd name="T4" fmla="*/ 187 w 3748"/>
                    <a:gd name="T5" fmla="*/ 2749 h 2749"/>
                    <a:gd name="T6" fmla="*/ 0 w 3748"/>
                    <a:gd name="T7" fmla="*/ 2562 h 2749"/>
                    <a:gd name="T8" fmla="*/ 0 w 3748"/>
                    <a:gd name="T9" fmla="*/ 187 h 2749"/>
                    <a:gd name="T10" fmla="*/ 187 w 3748"/>
                    <a:gd name="T11" fmla="*/ 0 h 2749"/>
                    <a:gd name="T12" fmla="*/ 3561 w 3748"/>
                    <a:gd name="T13" fmla="*/ 0 h 2749"/>
                    <a:gd name="T14" fmla="*/ 3748 w 3748"/>
                    <a:gd name="T15" fmla="*/ 187 h 2749"/>
                    <a:gd name="T16" fmla="*/ 3748 w 3748"/>
                    <a:gd name="T17" fmla="*/ 2562 h 2749"/>
                    <a:gd name="T18" fmla="*/ 2124 w 3748"/>
                    <a:gd name="T19" fmla="*/ 2249 h 2749"/>
                    <a:gd name="T20" fmla="*/ 1624 w 3748"/>
                    <a:gd name="T21" fmla="*/ 2249 h 27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748" h="2749">
                      <a:moveTo>
                        <a:pt x="3748" y="2562"/>
                      </a:moveTo>
                      <a:cubicBezTo>
                        <a:pt x="3748" y="2665"/>
                        <a:pt x="3665" y="2749"/>
                        <a:pt x="3561" y="2749"/>
                      </a:cubicBezTo>
                      <a:cubicBezTo>
                        <a:pt x="187" y="2749"/>
                        <a:pt x="187" y="2749"/>
                        <a:pt x="187" y="2749"/>
                      </a:cubicBezTo>
                      <a:cubicBezTo>
                        <a:pt x="83" y="2749"/>
                        <a:pt x="0" y="2665"/>
                        <a:pt x="0" y="2562"/>
                      </a:cubicBezTo>
                      <a:cubicBezTo>
                        <a:pt x="0" y="187"/>
                        <a:pt x="0" y="187"/>
                        <a:pt x="0" y="187"/>
                      </a:cubicBezTo>
                      <a:cubicBezTo>
                        <a:pt x="0" y="84"/>
                        <a:pt x="83" y="0"/>
                        <a:pt x="187" y="0"/>
                      </a:cubicBezTo>
                      <a:cubicBezTo>
                        <a:pt x="3561" y="0"/>
                        <a:pt x="3561" y="0"/>
                        <a:pt x="3561" y="0"/>
                      </a:cubicBezTo>
                      <a:cubicBezTo>
                        <a:pt x="3665" y="0"/>
                        <a:pt x="3748" y="84"/>
                        <a:pt x="3748" y="187"/>
                      </a:cubicBezTo>
                      <a:lnTo>
                        <a:pt x="3748" y="2562"/>
                      </a:lnTo>
                      <a:close/>
                      <a:moveTo>
                        <a:pt x="2124" y="2249"/>
                      </a:moveTo>
                      <a:cubicBezTo>
                        <a:pt x="1624" y="2249"/>
                        <a:pt x="1624" y="2249"/>
                        <a:pt x="1624" y="2249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448">
                  <a:extLst>
                    <a:ext uri="{FF2B5EF4-FFF2-40B4-BE49-F238E27FC236}">
                      <a16:creationId xmlns:a16="http://schemas.microsoft.com/office/drawing/2014/main" id="{6F05E337-A7C1-4B42-BD87-779E57B660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095124" y="3644731"/>
                  <a:ext cx="437121" cy="289564"/>
                </a:xfrm>
                <a:custGeom>
                  <a:avLst/>
                  <a:gdLst>
                    <a:gd name="T0" fmla="*/ 3250 w 3750"/>
                    <a:gd name="T1" fmla="*/ 1750 h 2500"/>
                    <a:gd name="T2" fmla="*/ 500 w 3750"/>
                    <a:gd name="T3" fmla="*/ 1750 h 2500"/>
                    <a:gd name="T4" fmla="*/ 500 w 3750"/>
                    <a:gd name="T5" fmla="*/ 0 h 2500"/>
                    <a:gd name="T6" fmla="*/ 3250 w 3750"/>
                    <a:gd name="T7" fmla="*/ 0 h 2500"/>
                    <a:gd name="T8" fmla="*/ 3250 w 3750"/>
                    <a:gd name="T9" fmla="*/ 1750 h 2500"/>
                    <a:gd name="T10" fmla="*/ 0 w 3750"/>
                    <a:gd name="T11" fmla="*/ 2375 h 2500"/>
                    <a:gd name="T12" fmla="*/ 125 w 3750"/>
                    <a:gd name="T13" fmla="*/ 2500 h 2500"/>
                    <a:gd name="T14" fmla="*/ 3625 w 3750"/>
                    <a:gd name="T15" fmla="*/ 2500 h 2500"/>
                    <a:gd name="T16" fmla="*/ 3750 w 3750"/>
                    <a:gd name="T17" fmla="*/ 2375 h 2500"/>
                    <a:gd name="T18" fmla="*/ 3688 w 3750"/>
                    <a:gd name="T19" fmla="*/ 2187 h 2500"/>
                    <a:gd name="T20" fmla="*/ 3250 w 3750"/>
                    <a:gd name="T21" fmla="*/ 1750 h 2500"/>
                    <a:gd name="T22" fmla="*/ 500 w 3750"/>
                    <a:gd name="T23" fmla="*/ 1750 h 2500"/>
                    <a:gd name="T24" fmla="*/ 63 w 3750"/>
                    <a:gd name="T25" fmla="*/ 2187 h 2500"/>
                    <a:gd name="T26" fmla="*/ 0 w 3750"/>
                    <a:gd name="T27" fmla="*/ 2375 h 2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50" h="2500">
                      <a:moveTo>
                        <a:pt x="3250" y="1750"/>
                      </a:moveTo>
                      <a:cubicBezTo>
                        <a:pt x="500" y="1750"/>
                        <a:pt x="500" y="1750"/>
                        <a:pt x="500" y="1750"/>
                      </a:cubicBezTo>
                      <a:cubicBezTo>
                        <a:pt x="500" y="0"/>
                        <a:pt x="500" y="0"/>
                        <a:pt x="500" y="0"/>
                      </a:cubicBezTo>
                      <a:cubicBezTo>
                        <a:pt x="3250" y="0"/>
                        <a:pt x="3250" y="0"/>
                        <a:pt x="3250" y="0"/>
                      </a:cubicBezTo>
                      <a:lnTo>
                        <a:pt x="3250" y="1750"/>
                      </a:lnTo>
                      <a:close/>
                      <a:moveTo>
                        <a:pt x="0" y="2375"/>
                      </a:moveTo>
                      <a:cubicBezTo>
                        <a:pt x="0" y="2444"/>
                        <a:pt x="56" y="2500"/>
                        <a:pt x="125" y="2500"/>
                      </a:cubicBezTo>
                      <a:cubicBezTo>
                        <a:pt x="3625" y="2500"/>
                        <a:pt x="3625" y="2500"/>
                        <a:pt x="3625" y="2500"/>
                      </a:cubicBezTo>
                      <a:cubicBezTo>
                        <a:pt x="3694" y="2500"/>
                        <a:pt x="3750" y="2444"/>
                        <a:pt x="3750" y="2375"/>
                      </a:cubicBezTo>
                      <a:cubicBezTo>
                        <a:pt x="3750" y="2302"/>
                        <a:pt x="3726" y="2235"/>
                        <a:pt x="3688" y="2187"/>
                      </a:cubicBezTo>
                      <a:cubicBezTo>
                        <a:pt x="3250" y="1750"/>
                        <a:pt x="3250" y="1750"/>
                        <a:pt x="3250" y="1750"/>
                      </a:cubicBezTo>
                      <a:cubicBezTo>
                        <a:pt x="500" y="1750"/>
                        <a:pt x="500" y="1750"/>
                        <a:pt x="500" y="1750"/>
                      </a:cubicBezTo>
                      <a:cubicBezTo>
                        <a:pt x="63" y="2187"/>
                        <a:pt x="63" y="2187"/>
                        <a:pt x="63" y="2187"/>
                      </a:cubicBezTo>
                      <a:cubicBezTo>
                        <a:pt x="24" y="2235"/>
                        <a:pt x="0" y="2302"/>
                        <a:pt x="0" y="2375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5">
                  <a:extLst>
                    <a:ext uri="{FF2B5EF4-FFF2-40B4-BE49-F238E27FC236}">
                      <a16:creationId xmlns:a16="http://schemas.microsoft.com/office/drawing/2014/main" id="{EE6651DF-F377-40AC-99C6-D2914BF0CBD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42303" y="3288299"/>
                  <a:ext cx="142762" cy="235885"/>
                </a:xfrm>
                <a:custGeom>
                  <a:avLst/>
                  <a:gdLst>
                    <a:gd name="T0" fmla="*/ 2125 w 2250"/>
                    <a:gd name="T1" fmla="*/ 3750 h 3750"/>
                    <a:gd name="T2" fmla="*/ 125 w 2250"/>
                    <a:gd name="T3" fmla="*/ 3750 h 3750"/>
                    <a:gd name="T4" fmla="*/ 0 w 2250"/>
                    <a:gd name="T5" fmla="*/ 3625 h 3750"/>
                    <a:gd name="T6" fmla="*/ 0 w 2250"/>
                    <a:gd name="T7" fmla="*/ 125 h 3750"/>
                    <a:gd name="T8" fmla="*/ 125 w 2250"/>
                    <a:gd name="T9" fmla="*/ 0 h 3750"/>
                    <a:gd name="T10" fmla="*/ 2125 w 2250"/>
                    <a:gd name="T11" fmla="*/ 0 h 3750"/>
                    <a:gd name="T12" fmla="*/ 2250 w 2250"/>
                    <a:gd name="T13" fmla="*/ 125 h 3750"/>
                    <a:gd name="T14" fmla="*/ 2250 w 2250"/>
                    <a:gd name="T15" fmla="*/ 3625 h 3750"/>
                    <a:gd name="T16" fmla="*/ 2125 w 2250"/>
                    <a:gd name="T17" fmla="*/ 3750 h 3750"/>
                    <a:gd name="T18" fmla="*/ 875 w 2250"/>
                    <a:gd name="T19" fmla="*/ 3250 h 3750"/>
                    <a:gd name="T20" fmla="*/ 1375 w 2250"/>
                    <a:gd name="T21" fmla="*/ 3250 h 3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50" h="3750">
                      <a:moveTo>
                        <a:pt x="2125" y="3750"/>
                      </a:moveTo>
                      <a:cubicBezTo>
                        <a:pt x="125" y="3750"/>
                        <a:pt x="125" y="3750"/>
                        <a:pt x="125" y="3750"/>
                      </a:cubicBezTo>
                      <a:cubicBezTo>
                        <a:pt x="56" y="3750"/>
                        <a:pt x="0" y="3694"/>
                        <a:pt x="0" y="3625"/>
                      </a:cubicBez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0" y="56"/>
                        <a:pt x="56" y="0"/>
                        <a:pt x="125" y="0"/>
                      </a:cubicBezTo>
                      <a:cubicBezTo>
                        <a:pt x="2125" y="0"/>
                        <a:pt x="2125" y="0"/>
                        <a:pt x="2125" y="0"/>
                      </a:cubicBezTo>
                      <a:cubicBezTo>
                        <a:pt x="2194" y="0"/>
                        <a:pt x="2250" y="56"/>
                        <a:pt x="2250" y="125"/>
                      </a:cubicBezTo>
                      <a:cubicBezTo>
                        <a:pt x="2250" y="3625"/>
                        <a:pt x="2250" y="3625"/>
                        <a:pt x="2250" y="3625"/>
                      </a:cubicBezTo>
                      <a:cubicBezTo>
                        <a:pt x="2250" y="3694"/>
                        <a:pt x="2194" y="3750"/>
                        <a:pt x="2125" y="3750"/>
                      </a:cubicBezTo>
                      <a:close/>
                      <a:moveTo>
                        <a:pt x="875" y="3250"/>
                      </a:moveTo>
                      <a:cubicBezTo>
                        <a:pt x="1375" y="3250"/>
                        <a:pt x="1375" y="3250"/>
                        <a:pt x="1375" y="3250"/>
                      </a:cubicBez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49" name="Group 148">
                  <a:extLst>
                    <a:ext uri="{FF2B5EF4-FFF2-40B4-BE49-F238E27FC236}">
                      <a16:creationId xmlns:a16="http://schemas.microsoft.com/office/drawing/2014/main" id="{D44B5479-DAD6-43B8-8D79-661AC7D5A4A0}"/>
                    </a:ext>
                  </a:extLst>
                </p:cNvPr>
                <p:cNvGrpSpPr/>
                <p:nvPr/>
              </p:nvGrpSpPr>
              <p:grpSpPr>
                <a:xfrm>
                  <a:off x="9528781" y="4077410"/>
                  <a:ext cx="97135" cy="181233"/>
                  <a:chOff x="4064485" y="1802065"/>
                  <a:chExt cx="240628" cy="227361"/>
                </a:xfrm>
                <a:noFill/>
              </p:grpSpPr>
              <p:sp>
                <p:nvSpPr>
                  <p:cNvPr id="154" name="Line 46">
                    <a:extLst>
                      <a:ext uri="{FF2B5EF4-FFF2-40B4-BE49-F238E27FC236}">
                        <a16:creationId xmlns:a16="http://schemas.microsoft.com/office/drawing/2014/main" id="{43779392-D854-4996-AF6F-14730796366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064485" y="1802065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5" name="Line 47">
                    <a:extLst>
                      <a:ext uri="{FF2B5EF4-FFF2-40B4-BE49-F238E27FC236}">
                        <a16:creationId xmlns:a16="http://schemas.microsoft.com/office/drawing/2014/main" id="{2555A14C-24D9-4B02-801C-25FC0A837D9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64489" y="1917069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Line 54">
                    <a:extLst>
                      <a:ext uri="{FF2B5EF4-FFF2-40B4-BE49-F238E27FC236}">
                        <a16:creationId xmlns:a16="http://schemas.microsoft.com/office/drawing/2014/main" id="{CA5D1864-B8FE-496B-82AB-568FC6B88C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064493" y="2029426"/>
                    <a:ext cx="240620" cy="0"/>
                  </a:xfrm>
                  <a:prstGeom prst="line">
                    <a:avLst/>
                  </a:prstGeom>
                  <a:grp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0" name="Freeform: Shape 168">
                  <a:extLst>
                    <a:ext uri="{FF2B5EF4-FFF2-40B4-BE49-F238E27FC236}">
                      <a16:creationId xmlns:a16="http://schemas.microsoft.com/office/drawing/2014/main" id="{139D9A4F-93FF-4E72-9AFD-367A63FA43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9720227" y="4046344"/>
                  <a:ext cx="290953" cy="243366"/>
                </a:xfrm>
                <a:custGeom>
                  <a:avLst/>
                  <a:gdLst>
                    <a:gd name="connsiteX0" fmla="*/ 0 w 541845"/>
                    <a:gd name="connsiteY0" fmla="*/ 0 h 456200"/>
                    <a:gd name="connsiteX1" fmla="*/ 541845 w 541845"/>
                    <a:gd name="connsiteY1" fmla="*/ 0 h 456200"/>
                    <a:gd name="connsiteX2" fmla="*/ 541845 w 541845"/>
                    <a:gd name="connsiteY2" fmla="*/ 336005 h 456200"/>
                    <a:gd name="connsiteX3" fmla="*/ 170403 w 541845"/>
                    <a:gd name="connsiteY3" fmla="*/ 336005 h 456200"/>
                    <a:gd name="connsiteX4" fmla="*/ 50208 w 541845"/>
                    <a:gd name="connsiteY4" fmla="*/ 456200 h 456200"/>
                    <a:gd name="connsiteX5" fmla="*/ 50208 w 541845"/>
                    <a:gd name="connsiteY5" fmla="*/ 336005 h 456200"/>
                    <a:gd name="connsiteX6" fmla="*/ 0 w 541845"/>
                    <a:gd name="connsiteY6" fmla="*/ 336005 h 45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1845" h="456200">
                      <a:moveTo>
                        <a:pt x="0" y="0"/>
                      </a:moveTo>
                      <a:lnTo>
                        <a:pt x="541845" y="0"/>
                      </a:lnTo>
                      <a:lnTo>
                        <a:pt x="541845" y="336005"/>
                      </a:lnTo>
                      <a:lnTo>
                        <a:pt x="170403" y="336005"/>
                      </a:lnTo>
                      <a:lnTo>
                        <a:pt x="50208" y="456200"/>
                      </a:lnTo>
                      <a:lnTo>
                        <a:pt x="50208" y="336005"/>
                      </a:lnTo>
                      <a:lnTo>
                        <a:pt x="0" y="336005"/>
                      </a:lnTo>
                      <a:close/>
                    </a:path>
                  </a:pathLst>
                </a:cu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51" name="Group 150">
                  <a:extLst>
                    <a:ext uri="{FF2B5EF4-FFF2-40B4-BE49-F238E27FC236}">
                      <a16:creationId xmlns:a16="http://schemas.microsoft.com/office/drawing/2014/main" id="{DA2FE695-946F-4718-9A54-74BDF917701A}"/>
                    </a:ext>
                  </a:extLst>
                </p:cNvPr>
                <p:cNvGrpSpPr/>
                <p:nvPr/>
              </p:nvGrpSpPr>
              <p:grpSpPr>
                <a:xfrm>
                  <a:off x="9855639" y="3437294"/>
                  <a:ext cx="97133" cy="89562"/>
                  <a:chOff x="9766486" y="4221497"/>
                  <a:chExt cx="118215" cy="109717"/>
                </a:xfrm>
              </p:grpSpPr>
              <p:sp>
                <p:nvSpPr>
                  <p:cNvPr id="152" name="Line 47">
                    <a:extLst>
                      <a:ext uri="{FF2B5EF4-FFF2-40B4-BE49-F238E27FC236}">
                        <a16:creationId xmlns:a16="http://schemas.microsoft.com/office/drawing/2014/main" id="{0198489B-9170-4826-85D9-2BEC8C6FF9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766486" y="4221497"/>
                    <a:ext cx="118214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Line 54">
                    <a:extLst>
                      <a:ext uri="{FF2B5EF4-FFF2-40B4-BE49-F238E27FC236}">
                        <a16:creationId xmlns:a16="http://schemas.microsoft.com/office/drawing/2014/main" id="{F701F9A3-75E6-423A-9A70-E79733C6611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9766486" y="4331214"/>
                    <a:ext cx="118215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B9405865-ED16-4FD1-84FE-0C0FB359E8AA}"/>
                  </a:ext>
                </a:extLst>
              </p:cNvPr>
              <p:cNvGrpSpPr/>
              <p:nvPr/>
            </p:nvGrpSpPr>
            <p:grpSpPr>
              <a:xfrm>
                <a:off x="10362583" y="4585161"/>
                <a:ext cx="677513" cy="576345"/>
                <a:chOff x="10725498" y="5087603"/>
                <a:chExt cx="498940" cy="424437"/>
              </a:xfrm>
            </p:grpSpPr>
            <p:sp>
              <p:nvSpPr>
                <p:cNvPr id="194" name="graph_2">
                  <a:extLst>
                    <a:ext uri="{FF2B5EF4-FFF2-40B4-BE49-F238E27FC236}">
                      <a16:creationId xmlns:a16="http://schemas.microsoft.com/office/drawing/2014/main" id="{55D37732-EEBF-4B63-B2DB-EC15152E8E3E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10829194" y="5267741"/>
                  <a:ext cx="291548" cy="170948"/>
                </a:xfrm>
                <a:custGeom>
                  <a:avLst/>
                  <a:gdLst>
                    <a:gd name="T0" fmla="*/ 195 w 249"/>
                    <a:gd name="T1" fmla="*/ 0 h 146"/>
                    <a:gd name="T2" fmla="*/ 244 w 249"/>
                    <a:gd name="T3" fmla="*/ 0 h 146"/>
                    <a:gd name="T4" fmla="*/ 244 w 249"/>
                    <a:gd name="T5" fmla="*/ 50 h 146"/>
                    <a:gd name="T6" fmla="*/ 244 w 249"/>
                    <a:gd name="T7" fmla="*/ 0 h 146"/>
                    <a:gd name="T8" fmla="*/ 141 w 249"/>
                    <a:gd name="T9" fmla="*/ 106 h 146"/>
                    <a:gd name="T10" fmla="*/ 109 w 249"/>
                    <a:gd name="T11" fmla="*/ 106 h 146"/>
                    <a:gd name="T12" fmla="*/ 0 w 249"/>
                    <a:gd name="T13" fmla="*/ 146 h 146"/>
                    <a:gd name="T14" fmla="*/ 249 w 249"/>
                    <a:gd name="T15" fmla="*/ 146 h 146"/>
                    <a:gd name="T16" fmla="*/ 88 w 249"/>
                    <a:gd name="T17" fmla="*/ 106 h 146"/>
                    <a:gd name="T18" fmla="*/ 54 w 249"/>
                    <a:gd name="T19" fmla="*/ 106 h 146"/>
                    <a:gd name="T20" fmla="*/ 35 w 249"/>
                    <a:gd name="T21" fmla="*/ 106 h 146"/>
                    <a:gd name="T22" fmla="*/ 1 w 249"/>
                    <a:gd name="T23" fmla="*/ 10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9" h="146">
                      <a:moveTo>
                        <a:pt x="195" y="0"/>
                      </a:moveTo>
                      <a:lnTo>
                        <a:pt x="244" y="0"/>
                      </a:lnTo>
                      <a:lnTo>
                        <a:pt x="244" y="50"/>
                      </a:lnTo>
                      <a:moveTo>
                        <a:pt x="244" y="0"/>
                      </a:moveTo>
                      <a:lnTo>
                        <a:pt x="141" y="106"/>
                      </a:lnTo>
                      <a:lnTo>
                        <a:pt x="109" y="106"/>
                      </a:lnTo>
                      <a:moveTo>
                        <a:pt x="0" y="146"/>
                      </a:moveTo>
                      <a:lnTo>
                        <a:pt x="249" y="146"/>
                      </a:lnTo>
                      <a:moveTo>
                        <a:pt x="88" y="106"/>
                      </a:moveTo>
                      <a:lnTo>
                        <a:pt x="54" y="106"/>
                      </a:lnTo>
                      <a:moveTo>
                        <a:pt x="35" y="106"/>
                      </a:moveTo>
                      <a:lnTo>
                        <a:pt x="1" y="106"/>
                      </a:lnTo>
                    </a:path>
                  </a:pathLst>
                </a:cu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F6BAF35B-F1C6-47AB-B29C-ED6C9DC63ED7}"/>
                    </a:ext>
                  </a:extLst>
                </p:cNvPr>
                <p:cNvGrpSpPr/>
                <p:nvPr/>
              </p:nvGrpSpPr>
              <p:grpSpPr>
                <a:xfrm>
                  <a:off x="10725498" y="5087603"/>
                  <a:ext cx="498940" cy="424437"/>
                  <a:chOff x="10725498" y="5087603"/>
                  <a:chExt cx="498940" cy="424437"/>
                </a:xfrm>
              </p:grpSpPr>
              <p:sp>
                <p:nvSpPr>
                  <p:cNvPr id="198" name="Rectangle 9">
                    <a:extLst>
                      <a:ext uri="{FF2B5EF4-FFF2-40B4-BE49-F238E27FC236}">
                        <a16:creationId xmlns:a16="http://schemas.microsoft.com/office/drawing/2014/main" id="{C94AE980-EB38-46BD-8FB2-9D3E3E57FD5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725498" y="5087603"/>
                    <a:ext cx="498940" cy="424437"/>
                  </a:xfrm>
                  <a:prstGeom prst="rect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" name="Line 10">
                    <a:extLst>
                      <a:ext uri="{FF2B5EF4-FFF2-40B4-BE49-F238E27FC236}">
                        <a16:creationId xmlns:a16="http://schemas.microsoft.com/office/drawing/2014/main" id="{0CD8DEDD-5B74-45A7-A005-61BFAD569DF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0725498" y="5202743"/>
                    <a:ext cx="498940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" name="Oval 11">
                    <a:extLst>
                      <a:ext uri="{FF2B5EF4-FFF2-40B4-BE49-F238E27FC236}">
                        <a16:creationId xmlns:a16="http://schemas.microsoft.com/office/drawing/2014/main" id="{DF3C3C4E-8CFF-4176-A7D9-971EDB16533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1447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1" name="Oval 12">
                    <a:extLst>
                      <a:ext uri="{FF2B5EF4-FFF2-40B4-BE49-F238E27FC236}">
                        <a16:creationId xmlns:a16="http://schemas.microsoft.com/office/drawing/2014/main" id="{F46D44F1-B6E5-4C02-80E4-0FF710690B3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70918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2" name="Oval 13">
                    <a:extLst>
                      <a:ext uri="{FF2B5EF4-FFF2-40B4-BE49-F238E27FC236}">
                        <a16:creationId xmlns:a16="http://schemas.microsoft.com/office/drawing/2014/main" id="{439A2BC6-7F24-4009-A587-F12B6D45166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12961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238" name="Shape 101">
                <a:extLst>
                  <a:ext uri="{FF2B5EF4-FFF2-40B4-BE49-F238E27FC236}">
                    <a16:creationId xmlns:a16="http://schemas.microsoft.com/office/drawing/2014/main" id="{B2737DD1-7D22-451D-A367-0EDC6532EE0B}"/>
                  </a:ext>
                </a:extLst>
              </p:cNvPr>
              <p:cNvSpPr txBox="1"/>
              <p:nvPr/>
            </p:nvSpPr>
            <p:spPr>
              <a:xfrm>
                <a:off x="9946442" y="4104917"/>
                <a:ext cx="1534447" cy="2778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spAutoFit/>
              </a:bodyPr>
              <a:lstStyle/>
              <a:p>
                <a:pPr marL="0" marR="0" lvl="0" indent="0" algn="ctr" defTabSz="9325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  <a:sym typeface="Calibri"/>
                  </a:rPr>
                  <a:t>Operational reports</a:t>
                </a: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1DD3BEF8-F2D3-4A68-9B30-12258C9969AC}"/>
                  </a:ext>
                </a:extLst>
              </p:cNvPr>
              <p:cNvGrpSpPr/>
              <p:nvPr/>
            </p:nvGrpSpPr>
            <p:grpSpPr>
              <a:xfrm>
                <a:off x="10349269" y="3465702"/>
                <a:ext cx="677513" cy="576345"/>
                <a:chOff x="10295202" y="3465702"/>
                <a:chExt cx="677513" cy="576345"/>
              </a:xfrm>
            </p:grpSpPr>
            <p:grpSp>
              <p:nvGrpSpPr>
                <p:cNvPr id="231" name="Group 230">
                  <a:extLst>
                    <a:ext uri="{FF2B5EF4-FFF2-40B4-BE49-F238E27FC236}">
                      <a16:creationId xmlns:a16="http://schemas.microsoft.com/office/drawing/2014/main" id="{2B6089EC-A82E-4D63-94B4-56F7B0236774}"/>
                    </a:ext>
                  </a:extLst>
                </p:cNvPr>
                <p:cNvGrpSpPr/>
                <p:nvPr/>
              </p:nvGrpSpPr>
              <p:grpSpPr>
                <a:xfrm>
                  <a:off x="10295202" y="3465702"/>
                  <a:ext cx="677513" cy="576345"/>
                  <a:chOff x="10725498" y="5087603"/>
                  <a:chExt cx="498940" cy="424437"/>
                </a:xfrm>
              </p:grpSpPr>
              <p:sp>
                <p:nvSpPr>
                  <p:cNvPr id="233" name="Rectangle 9">
                    <a:extLst>
                      <a:ext uri="{FF2B5EF4-FFF2-40B4-BE49-F238E27FC236}">
                        <a16:creationId xmlns:a16="http://schemas.microsoft.com/office/drawing/2014/main" id="{64DF5A8B-8562-43DF-A75F-01BE6030547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0725498" y="5087603"/>
                    <a:ext cx="498940" cy="424437"/>
                  </a:xfrm>
                  <a:prstGeom prst="rect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Line 10">
                    <a:extLst>
                      <a:ext uri="{FF2B5EF4-FFF2-40B4-BE49-F238E27FC236}">
                        <a16:creationId xmlns:a16="http://schemas.microsoft.com/office/drawing/2014/main" id="{55D2C6BD-31EC-43D4-8BD4-3D073D4A0B4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0725498" y="5202743"/>
                    <a:ext cx="498940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Oval 11">
                    <a:extLst>
                      <a:ext uri="{FF2B5EF4-FFF2-40B4-BE49-F238E27FC236}">
                        <a16:creationId xmlns:a16="http://schemas.microsoft.com/office/drawing/2014/main" id="{2FB7F8B0-3B91-4436-BCE0-C9174BA3C4C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1447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Oval 12">
                    <a:extLst>
                      <a:ext uri="{FF2B5EF4-FFF2-40B4-BE49-F238E27FC236}">
                        <a16:creationId xmlns:a16="http://schemas.microsoft.com/office/drawing/2014/main" id="{F482BAFD-6614-47C8-A692-AEF4463D03B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070918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Oval 13">
                    <a:extLst>
                      <a:ext uri="{FF2B5EF4-FFF2-40B4-BE49-F238E27FC236}">
                        <a16:creationId xmlns:a16="http://schemas.microsoft.com/office/drawing/2014/main" id="{64AAA125-35D5-4E98-8591-D42E3055136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129617" y="5125983"/>
                    <a:ext cx="38380" cy="38380"/>
                  </a:xfrm>
                  <a:prstGeom prst="ellipse">
                    <a:avLst/>
                  </a:prstGeom>
                  <a:solidFill>
                    <a:schemeClr val="tx1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3274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39" name="Rectangle 6">
                  <a:extLst>
                    <a:ext uri="{FF2B5EF4-FFF2-40B4-BE49-F238E27FC236}">
                      <a16:creationId xmlns:a16="http://schemas.microsoft.com/office/drawing/2014/main" id="{E5E9C6B9-DE53-4643-9C4A-7728FC14FA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521830" y="3822836"/>
                  <a:ext cx="52858" cy="175091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Rectangle 7">
                  <a:extLst>
                    <a:ext uri="{FF2B5EF4-FFF2-40B4-BE49-F238E27FC236}">
                      <a16:creationId xmlns:a16="http://schemas.microsoft.com/office/drawing/2014/main" id="{ACD3FB5E-29BB-4681-A71E-6B9903AD0E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625894" y="3669218"/>
                  <a:ext cx="54510" cy="328709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Rectangle 8">
                  <a:extLst>
                    <a:ext uri="{FF2B5EF4-FFF2-40B4-BE49-F238E27FC236}">
                      <a16:creationId xmlns:a16="http://schemas.microsoft.com/office/drawing/2014/main" id="{9D3E2615-C536-4356-B157-AC746377EE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31610" y="3736942"/>
                  <a:ext cx="54510" cy="260985"/>
                </a:xfrm>
                <a:prstGeom prst="rec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72421" tIns="36211" rIns="72421" bIns="3621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4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95611ECB-8432-467F-832C-AF9FA82323EC}"/>
                </a:ext>
              </a:extLst>
            </p:cNvPr>
            <p:cNvSpPr/>
            <p:nvPr/>
          </p:nvSpPr>
          <p:spPr bwMode="auto">
            <a:xfrm>
              <a:off x="9960535" y="1697248"/>
              <a:ext cx="1432897" cy="307777"/>
            </a:xfrm>
            <a:prstGeom prst="rect">
              <a:avLst/>
            </a:prstGeom>
            <a:noFill/>
            <a:ln w="3175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spAutoFit/>
            </a:bodyPr>
            <a:lstStyle/>
            <a:p>
              <a:pPr marL="0" marR="0" lvl="0" indent="0" algn="ctr" defTabSz="71059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Intelligence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26F7D452-0040-4DAD-BA87-7BE5B8388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400">
              <a:lnSpc>
                <a:spcPct val="100000"/>
              </a:lnSpc>
            </a:pPr>
            <a:r>
              <a:rPr lang="en-US" sz="2800" spc="500" dirty="0">
                <a:solidFill>
                  <a:srgbClr val="0078D7"/>
                </a:solidFill>
                <a:latin typeface="Segoe UI Semilight" charset="0"/>
                <a:ea typeface=""/>
                <a:cs typeface="Segoe UI Semilight" charset="0"/>
              </a:rPr>
              <a:t>Big Data &amp; Advanced Analytics at a glance</a:t>
            </a:r>
            <a:endParaRPr lang="en-US" sz="2800" spc="500" dirty="0">
              <a:solidFill>
                <a:srgbClr val="0078D7"/>
              </a:solidFill>
              <a:latin typeface="Segoe UI Semilight" charset="0"/>
              <a:cs typeface="Segoe UI Semilight" charset="0"/>
            </a:endParaRP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BD3EE901-8B1D-4515-8F43-40D02C09AC24}"/>
              </a:ext>
            </a:extLst>
          </p:cNvPr>
          <p:cNvCxnSpPr>
            <a:cxnSpLocks/>
          </p:cNvCxnSpPr>
          <p:nvPr/>
        </p:nvCxnSpPr>
        <p:spPr>
          <a:xfrm rot="10800000" flipV="1">
            <a:off x="7797312" y="3057069"/>
            <a:ext cx="12700" cy="1384913"/>
          </a:xfrm>
          <a:prstGeom prst="bentConnector3">
            <a:avLst>
              <a:gd name="adj1" fmla="val 1800000"/>
            </a:avLst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E57DD79A-C5E6-4E07-8EFA-42AB880854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57" y="1614888"/>
            <a:ext cx="416196" cy="406286"/>
            <a:chOff x="1759" y="236"/>
            <a:chExt cx="252" cy="246"/>
          </a:xfrm>
          <a:noFill/>
        </p:grpSpPr>
        <p:sp>
          <p:nvSpPr>
            <p:cNvPr id="168" name="Freeform 106">
              <a:extLst>
                <a:ext uri="{FF2B5EF4-FFF2-40B4-BE49-F238E27FC236}">
                  <a16:creationId xmlns:a16="http://schemas.microsoft.com/office/drawing/2014/main" id="{2C21B8F4-D961-4AAE-BD18-A747067D6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236"/>
              <a:ext cx="252" cy="246"/>
            </a:xfrm>
            <a:custGeom>
              <a:avLst/>
              <a:gdLst>
                <a:gd name="T0" fmla="*/ 0 w 252"/>
                <a:gd name="T1" fmla="*/ 0 h 246"/>
                <a:gd name="T2" fmla="*/ 0 w 252"/>
                <a:gd name="T3" fmla="*/ 246 h 246"/>
                <a:gd name="T4" fmla="*/ 252 w 252"/>
                <a:gd name="T5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2" h="246">
                  <a:moveTo>
                    <a:pt x="0" y="0"/>
                  </a:moveTo>
                  <a:lnTo>
                    <a:pt x="0" y="246"/>
                  </a:lnTo>
                  <a:lnTo>
                    <a:pt x="252" y="246"/>
                  </a:lnTo>
                </a:path>
              </a:pathLst>
            </a:cu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1" tIns="36206" rIns="72411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3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32F3A4B-33C1-45CB-A0F0-210E79904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9" y="376"/>
              <a:ext cx="32" cy="106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1" tIns="36206" rIns="72411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3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88761354-A028-4A1B-8B85-CABA5C5B18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2" y="283"/>
              <a:ext cx="33" cy="199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1" tIns="36206" rIns="72411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3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FD585D5E-4C4B-4E11-9D00-DE4F413DD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6" y="324"/>
              <a:ext cx="33" cy="158"/>
            </a:xfrm>
            <a:prstGeom prst="rect">
              <a:avLst/>
            </a:prstGeom>
            <a:grp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1" tIns="36206" rIns="72411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3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179" name="TextBox 178">
            <a:extLst>
              <a:ext uri="{FF2B5EF4-FFF2-40B4-BE49-F238E27FC236}">
                <a16:creationId xmlns:a16="http://schemas.microsoft.com/office/drawing/2014/main" id="{30693531-66D0-45AA-B0FD-1BDFD5C1056A}"/>
              </a:ext>
            </a:extLst>
          </p:cNvPr>
          <p:cNvSpPr txBox="1"/>
          <p:nvPr/>
        </p:nvSpPr>
        <p:spPr>
          <a:xfrm>
            <a:off x="467317" y="2074518"/>
            <a:ext cx="77328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5897BC48-3227-4115-B75F-6883BF73317A}"/>
              </a:ext>
            </a:extLst>
          </p:cNvPr>
          <p:cNvGrpSpPr/>
          <p:nvPr/>
        </p:nvGrpSpPr>
        <p:grpSpPr>
          <a:xfrm>
            <a:off x="2146238" y="2287772"/>
            <a:ext cx="231202" cy="232210"/>
            <a:chOff x="5279190" y="5401430"/>
            <a:chExt cx="1101836" cy="1106637"/>
          </a:xfrm>
        </p:grpSpPr>
        <p:sp>
          <p:nvSpPr>
            <p:cNvPr id="122" name="Freeform: Shape 815">
              <a:extLst>
                <a:ext uri="{FF2B5EF4-FFF2-40B4-BE49-F238E27FC236}">
                  <a16:creationId xmlns:a16="http://schemas.microsoft.com/office/drawing/2014/main" id="{01BD0F51-1A3F-43E4-AC48-CFF2C9E8C28D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3" name="Freeform: Shape 816">
              <a:extLst>
                <a:ext uri="{FF2B5EF4-FFF2-40B4-BE49-F238E27FC236}">
                  <a16:creationId xmlns:a16="http://schemas.microsoft.com/office/drawing/2014/main" id="{EEE7910A-EB26-46F9-A48E-7AD7497142E8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4" name="Freeform: Shape 817">
              <a:extLst>
                <a:ext uri="{FF2B5EF4-FFF2-40B4-BE49-F238E27FC236}">
                  <a16:creationId xmlns:a16="http://schemas.microsoft.com/office/drawing/2014/main" id="{5939A067-0BC1-4F76-9BFE-9BC592C09A6D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5" name="Freeform: Shape 818">
              <a:extLst>
                <a:ext uri="{FF2B5EF4-FFF2-40B4-BE49-F238E27FC236}">
                  <a16:creationId xmlns:a16="http://schemas.microsoft.com/office/drawing/2014/main" id="{0F6D1B4C-5DF2-4346-A194-3D43D4800F1B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126" name="Freeform: Shape 819">
              <a:extLst>
                <a:ext uri="{FF2B5EF4-FFF2-40B4-BE49-F238E27FC236}">
                  <a16:creationId xmlns:a16="http://schemas.microsoft.com/office/drawing/2014/main" id="{9A8C1A94-2668-4A35-91C0-77DA46B7CCB0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6CF4A718-DEEA-42A8-98B4-2FBF865A2C02}"/>
              </a:ext>
            </a:extLst>
          </p:cNvPr>
          <p:cNvGrpSpPr/>
          <p:nvPr/>
        </p:nvGrpSpPr>
        <p:grpSpPr>
          <a:xfrm>
            <a:off x="7880661" y="4256641"/>
            <a:ext cx="336024" cy="329990"/>
            <a:chOff x="2549926" y="1227604"/>
            <a:chExt cx="5177116" cy="5084148"/>
          </a:xfrm>
        </p:grpSpPr>
        <p:sp>
          <p:nvSpPr>
            <p:cNvPr id="130" name="Freeform: Shape 821">
              <a:extLst>
                <a:ext uri="{FF2B5EF4-FFF2-40B4-BE49-F238E27FC236}">
                  <a16:creationId xmlns:a16="http://schemas.microsoft.com/office/drawing/2014/main" id="{A65B318A-6090-4EF1-AB51-9F62861083E3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64AF47D1-0876-4616-B3B7-D9F02C6B2266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2C4FDB89-B67C-4C6B-ADC2-16F19F904BCB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158C6DFD-5891-443D-AA58-E77A406A7025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436CF3E6-8A70-4CE5-BF4B-8C6312C36564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EDB9BEAC-440E-471C-B1A6-215773C9EEF6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0896F17E-58CE-40F4-B8AB-2041951EEB84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1" name="Cylinder 828">
              <a:extLst>
                <a:ext uri="{FF2B5EF4-FFF2-40B4-BE49-F238E27FC236}">
                  <a16:creationId xmlns:a16="http://schemas.microsoft.com/office/drawing/2014/main" id="{8B3D60E1-1E16-4F9F-99CB-F45A1F6DBEE6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65F9CE2A-AE67-4255-8FCC-BD6DC7AB1B9C}"/>
              </a:ext>
            </a:extLst>
          </p:cNvPr>
          <p:cNvGrpSpPr/>
          <p:nvPr/>
        </p:nvGrpSpPr>
        <p:grpSpPr>
          <a:xfrm>
            <a:off x="3974303" y="3621025"/>
            <a:ext cx="308820" cy="275382"/>
            <a:chOff x="2922017" y="3436258"/>
            <a:chExt cx="1405852" cy="1211942"/>
          </a:xfrm>
        </p:grpSpPr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3DD86084-8BAC-4BEE-955F-47B0A90240EC}"/>
                </a:ext>
              </a:extLst>
            </p:cNvPr>
            <p:cNvSpPr/>
            <p:nvPr/>
          </p:nvSpPr>
          <p:spPr bwMode="auto">
            <a:xfrm>
              <a:off x="2922017" y="3436258"/>
              <a:ext cx="1405852" cy="1211942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C28C3048-B948-48E5-A3FC-D2A153713599}"/>
                </a:ext>
              </a:extLst>
            </p:cNvPr>
            <p:cNvGrpSpPr/>
            <p:nvPr/>
          </p:nvGrpSpPr>
          <p:grpSpPr>
            <a:xfrm flipH="1">
              <a:off x="3278165" y="3687836"/>
              <a:ext cx="693555" cy="708785"/>
              <a:chOff x="590959" y="3692672"/>
              <a:chExt cx="693555" cy="708785"/>
            </a:xfrm>
          </p:grpSpPr>
          <p:sp>
            <p:nvSpPr>
              <p:cNvPr id="182" name="Snip Single Corner Rectangle 26">
                <a:extLst>
                  <a:ext uri="{FF2B5EF4-FFF2-40B4-BE49-F238E27FC236}">
                    <a16:creationId xmlns:a16="http://schemas.microsoft.com/office/drawing/2014/main" id="{8F238A17-C9AB-48E1-9288-B5296FE19587}"/>
                  </a:ext>
                </a:extLst>
              </p:cNvPr>
              <p:cNvSpPr/>
              <p:nvPr/>
            </p:nvSpPr>
            <p:spPr bwMode="auto">
              <a:xfrm flipH="1">
                <a:off x="590959" y="3692672"/>
                <a:ext cx="693555" cy="708785"/>
              </a:xfrm>
              <a:prstGeom prst="snip1Rect">
                <a:avLst>
                  <a:gd name="adj" fmla="val 28736"/>
                </a:avLst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charset="0"/>
                    <a:ea typeface="Segoe UI Semibold" charset="0"/>
                    <a:cs typeface="Segoe UI Semibold" charset="0"/>
                  </a:rPr>
                  <a:t>10</a:t>
                </a:r>
                <a:b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charset="0"/>
                    <a:ea typeface="Segoe UI Semibold" charset="0"/>
                    <a:cs typeface="Segoe UI Semibold" charset="0"/>
                  </a:rPr>
                </a:br>
                <a:r>
                  <a:rPr kumimoji="0" lang="en-US" sz="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Semibold" charset="0"/>
                    <a:ea typeface="Segoe UI Semibold" charset="0"/>
                    <a:cs typeface="Segoe UI Semibold" charset="0"/>
                  </a:rPr>
                  <a:t>01</a:t>
                </a:r>
              </a:p>
            </p:txBody>
          </p:sp>
          <p:sp>
            <p:nvSpPr>
              <p:cNvPr id="184" name="Triangle 27">
                <a:extLst>
                  <a:ext uri="{FF2B5EF4-FFF2-40B4-BE49-F238E27FC236}">
                    <a16:creationId xmlns:a16="http://schemas.microsoft.com/office/drawing/2014/main" id="{C2550049-2B35-4674-BA3D-DC5E93833388}"/>
                  </a:ext>
                </a:extLst>
              </p:cNvPr>
              <p:cNvSpPr/>
              <p:nvPr/>
            </p:nvSpPr>
            <p:spPr bwMode="auto">
              <a:xfrm rot="8100000">
                <a:off x="605734" y="3761863"/>
                <a:ext cx="275229" cy="116186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2A0E6F24-23F5-43D6-A1F2-A55E118BF181}"/>
              </a:ext>
            </a:extLst>
          </p:cNvPr>
          <p:cNvGrpSpPr/>
          <p:nvPr/>
        </p:nvGrpSpPr>
        <p:grpSpPr>
          <a:xfrm>
            <a:off x="7863840" y="2938103"/>
            <a:ext cx="350996" cy="302532"/>
            <a:chOff x="8376458" y="5925518"/>
            <a:chExt cx="1045926" cy="901512"/>
          </a:xfrm>
        </p:grpSpPr>
        <p:sp>
          <p:nvSpPr>
            <p:cNvPr id="203" name="Star: 4 Points 8">
              <a:extLst>
                <a:ext uri="{FF2B5EF4-FFF2-40B4-BE49-F238E27FC236}">
                  <a16:creationId xmlns:a16="http://schemas.microsoft.com/office/drawing/2014/main" id="{3C4CF94E-29D1-4AAF-8904-424D1E08ACC0}"/>
                </a:ext>
              </a:extLst>
            </p:cNvPr>
            <p:cNvSpPr/>
            <p:nvPr/>
          </p:nvSpPr>
          <p:spPr bwMode="auto">
            <a:xfrm>
              <a:off x="8380049" y="5925518"/>
              <a:ext cx="292609" cy="292608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4" name="Star: 4 Points 8">
              <a:extLst>
                <a:ext uri="{FF2B5EF4-FFF2-40B4-BE49-F238E27FC236}">
                  <a16:creationId xmlns:a16="http://schemas.microsoft.com/office/drawing/2014/main" id="{EB14D03C-53B6-4AEA-9D85-C0C4A5968700}"/>
                </a:ext>
              </a:extLst>
            </p:cNvPr>
            <p:cNvSpPr/>
            <p:nvPr/>
          </p:nvSpPr>
          <p:spPr bwMode="auto">
            <a:xfrm>
              <a:off x="9163935" y="6692304"/>
              <a:ext cx="134726" cy="134726"/>
            </a:xfrm>
            <a:custGeom>
              <a:avLst/>
              <a:gdLst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  <a:gd name="connsiteX0" fmla="*/ 0 w 1628504"/>
                <a:gd name="connsiteY0" fmla="*/ 814252 h 1628504"/>
                <a:gd name="connsiteX1" fmla="*/ 613587 w 1628504"/>
                <a:gd name="connsiteY1" fmla="*/ 613587 h 1628504"/>
                <a:gd name="connsiteX2" fmla="*/ 814252 w 1628504"/>
                <a:gd name="connsiteY2" fmla="*/ 0 h 1628504"/>
                <a:gd name="connsiteX3" fmla="*/ 1014917 w 1628504"/>
                <a:gd name="connsiteY3" fmla="*/ 613587 h 1628504"/>
                <a:gd name="connsiteX4" fmla="*/ 1628504 w 1628504"/>
                <a:gd name="connsiteY4" fmla="*/ 814252 h 1628504"/>
                <a:gd name="connsiteX5" fmla="*/ 1014917 w 1628504"/>
                <a:gd name="connsiteY5" fmla="*/ 1014917 h 1628504"/>
                <a:gd name="connsiteX6" fmla="*/ 814252 w 1628504"/>
                <a:gd name="connsiteY6" fmla="*/ 1628504 h 1628504"/>
                <a:gd name="connsiteX7" fmla="*/ 613587 w 1628504"/>
                <a:gd name="connsiteY7" fmla="*/ 1014917 h 1628504"/>
                <a:gd name="connsiteX8" fmla="*/ 0 w 1628504"/>
                <a:gd name="connsiteY8" fmla="*/ 814252 h 162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504" h="1628504">
                  <a:moveTo>
                    <a:pt x="0" y="814252"/>
                  </a:moveTo>
                  <a:cubicBezTo>
                    <a:pt x="19050" y="815400"/>
                    <a:pt x="477878" y="749296"/>
                    <a:pt x="613587" y="613587"/>
                  </a:cubicBezTo>
                  <a:cubicBezTo>
                    <a:pt x="749296" y="477878"/>
                    <a:pt x="805875" y="32657"/>
                    <a:pt x="814252" y="0"/>
                  </a:cubicBezTo>
                  <a:cubicBezTo>
                    <a:pt x="819908" y="31718"/>
                    <a:pt x="874411" y="460935"/>
                    <a:pt x="1014917" y="613587"/>
                  </a:cubicBezTo>
                  <a:cubicBezTo>
                    <a:pt x="1136558" y="745743"/>
                    <a:pt x="1598568" y="811317"/>
                    <a:pt x="1628504" y="814252"/>
                  </a:cubicBezTo>
                  <a:cubicBezTo>
                    <a:pt x="1599929" y="829433"/>
                    <a:pt x="1150626" y="879208"/>
                    <a:pt x="1014917" y="1014917"/>
                  </a:cubicBezTo>
                  <a:cubicBezTo>
                    <a:pt x="879208" y="1150626"/>
                    <a:pt x="821269" y="1604011"/>
                    <a:pt x="814252" y="1628504"/>
                  </a:cubicBezTo>
                  <a:cubicBezTo>
                    <a:pt x="808596" y="1606733"/>
                    <a:pt x="749296" y="1150626"/>
                    <a:pt x="613587" y="1014917"/>
                  </a:cubicBezTo>
                  <a:cubicBezTo>
                    <a:pt x="477878" y="879208"/>
                    <a:pt x="16329" y="817187"/>
                    <a:pt x="0" y="814252"/>
                  </a:cubicBez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34747AA4-2F0B-48D3-ABA4-847E1488BD4E}"/>
                </a:ext>
              </a:extLst>
            </p:cNvPr>
            <p:cNvSpPr/>
            <p:nvPr/>
          </p:nvSpPr>
          <p:spPr bwMode="auto">
            <a:xfrm>
              <a:off x="8567675" y="6095745"/>
              <a:ext cx="647663" cy="647662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6" name="Oval 9">
              <a:extLst>
                <a:ext uri="{FF2B5EF4-FFF2-40B4-BE49-F238E27FC236}">
                  <a16:creationId xmlns:a16="http://schemas.microsoft.com/office/drawing/2014/main" id="{B10D5F37-DD05-42FE-83BA-BF6A05DD34FE}"/>
                </a:ext>
              </a:extLst>
            </p:cNvPr>
            <p:cNvSpPr/>
            <p:nvPr/>
          </p:nvSpPr>
          <p:spPr bwMode="auto">
            <a:xfrm rot="19667957">
              <a:off x="8376458" y="6275766"/>
              <a:ext cx="1045926" cy="314819"/>
            </a:xfrm>
            <a:custGeom>
              <a:avLst/>
              <a:gdLst>
                <a:gd name="connsiteX0" fmla="*/ 0 w 5218152"/>
                <a:gd name="connsiteY0" fmla="*/ 854451 h 1708902"/>
                <a:gd name="connsiteX1" fmla="*/ 2609076 w 5218152"/>
                <a:gd name="connsiteY1" fmla="*/ 0 h 1708902"/>
                <a:gd name="connsiteX2" fmla="*/ 5218152 w 5218152"/>
                <a:gd name="connsiteY2" fmla="*/ 854451 h 1708902"/>
                <a:gd name="connsiteX3" fmla="*/ 2609076 w 5218152"/>
                <a:gd name="connsiteY3" fmla="*/ 1708902 h 1708902"/>
                <a:gd name="connsiteX4" fmla="*/ 0 w 5218152"/>
                <a:gd name="connsiteY4" fmla="*/ 854451 h 1708902"/>
                <a:gd name="connsiteX0" fmla="*/ 38507 w 5256659"/>
                <a:gd name="connsiteY0" fmla="*/ 904723 h 1759174"/>
                <a:gd name="connsiteX1" fmla="*/ 1194016 w 5256659"/>
                <a:gd name="connsiteY1" fmla="*/ 186575 h 1759174"/>
                <a:gd name="connsiteX2" fmla="*/ 2647583 w 5256659"/>
                <a:gd name="connsiteY2" fmla="*/ 50272 h 1759174"/>
                <a:gd name="connsiteX3" fmla="*/ 5256659 w 5256659"/>
                <a:gd name="connsiteY3" fmla="*/ 904723 h 1759174"/>
                <a:gd name="connsiteX4" fmla="*/ 2647583 w 5256659"/>
                <a:gd name="connsiteY4" fmla="*/ 1759174 h 1759174"/>
                <a:gd name="connsiteX5" fmla="*/ 38507 w 5256659"/>
                <a:gd name="connsiteY5" fmla="*/ 904723 h 1759174"/>
                <a:gd name="connsiteX0" fmla="*/ 38507 w 5298873"/>
                <a:gd name="connsiteY0" fmla="*/ 863052 h 1717503"/>
                <a:gd name="connsiteX1" fmla="*/ 1194016 w 5298873"/>
                <a:gd name="connsiteY1" fmla="*/ 144904 h 1717503"/>
                <a:gd name="connsiteX2" fmla="*/ 2647583 w 5298873"/>
                <a:gd name="connsiteY2" fmla="*/ 8601 h 1717503"/>
                <a:gd name="connsiteX3" fmla="*/ 4147814 w 5298873"/>
                <a:gd name="connsiteY3" fmla="*/ 284411 h 1717503"/>
                <a:gd name="connsiteX4" fmla="*/ 5256659 w 5298873"/>
                <a:gd name="connsiteY4" fmla="*/ 863052 h 1717503"/>
                <a:gd name="connsiteX5" fmla="*/ 2647583 w 5298873"/>
                <a:gd name="connsiteY5" fmla="*/ 1717503 h 1717503"/>
                <a:gd name="connsiteX6" fmla="*/ 38507 w 5298873"/>
                <a:gd name="connsiteY6" fmla="*/ 863052 h 1717503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6" fmla="*/ 2739023 w 5298873"/>
                <a:gd name="connsiteY6" fmla="*/ 91440 h 1708902"/>
                <a:gd name="connsiteX0" fmla="*/ 2647583 w 5298873"/>
                <a:gd name="connsiteY0" fmla="*/ 0 h 1708902"/>
                <a:gd name="connsiteX1" fmla="*/ 4147814 w 5298873"/>
                <a:gd name="connsiteY1" fmla="*/ 275810 h 1708902"/>
                <a:gd name="connsiteX2" fmla="*/ 5256659 w 5298873"/>
                <a:gd name="connsiteY2" fmla="*/ 854451 h 1708902"/>
                <a:gd name="connsiteX3" fmla="*/ 2647583 w 5298873"/>
                <a:gd name="connsiteY3" fmla="*/ 1708902 h 1708902"/>
                <a:gd name="connsiteX4" fmla="*/ 38507 w 5298873"/>
                <a:gd name="connsiteY4" fmla="*/ 854451 h 1708902"/>
                <a:gd name="connsiteX5" fmla="*/ 1194016 w 5298873"/>
                <a:gd name="connsiteY5" fmla="*/ 136303 h 1708902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47814 w 5298873"/>
                <a:gd name="connsiteY0" fmla="*/ 139507 h 1572599"/>
                <a:gd name="connsiteX1" fmla="*/ 5256659 w 5298873"/>
                <a:gd name="connsiteY1" fmla="*/ 718148 h 1572599"/>
                <a:gd name="connsiteX2" fmla="*/ 2647583 w 5298873"/>
                <a:gd name="connsiteY2" fmla="*/ 1572599 h 1572599"/>
                <a:gd name="connsiteX3" fmla="*/ 38507 w 5298873"/>
                <a:gd name="connsiteY3" fmla="*/ 718148 h 1572599"/>
                <a:gd name="connsiteX4" fmla="*/ 1194016 w 5298873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63244"/>
                <a:gd name="connsiteY0" fmla="*/ 139507 h 1572599"/>
                <a:gd name="connsiteX1" fmla="*/ 5221030 w 5263244"/>
                <a:gd name="connsiteY1" fmla="*/ 718148 h 1572599"/>
                <a:gd name="connsiteX2" fmla="*/ 2611954 w 5263244"/>
                <a:gd name="connsiteY2" fmla="*/ 1572599 h 1572599"/>
                <a:gd name="connsiteX3" fmla="*/ 2878 w 5263244"/>
                <a:gd name="connsiteY3" fmla="*/ 718148 h 1572599"/>
                <a:gd name="connsiteX4" fmla="*/ 1158387 w 5263244"/>
                <a:gd name="connsiteY4" fmla="*/ 0 h 1572599"/>
                <a:gd name="connsiteX0" fmla="*/ 4112185 w 5223152"/>
                <a:gd name="connsiteY0" fmla="*/ 139507 h 1572599"/>
                <a:gd name="connsiteX1" fmla="*/ 5221030 w 5223152"/>
                <a:gd name="connsiteY1" fmla="*/ 718148 h 1572599"/>
                <a:gd name="connsiteX2" fmla="*/ 2611954 w 5223152"/>
                <a:gd name="connsiteY2" fmla="*/ 1572599 h 1572599"/>
                <a:gd name="connsiteX3" fmla="*/ 2878 w 5223152"/>
                <a:gd name="connsiteY3" fmla="*/ 718148 h 1572599"/>
                <a:gd name="connsiteX4" fmla="*/ 1158387 w 5223152"/>
                <a:gd name="connsiteY4" fmla="*/ 0 h 1572599"/>
                <a:gd name="connsiteX0" fmla="*/ 4101623 w 5262379"/>
                <a:gd name="connsiteY0" fmla="*/ 75462 h 1572599"/>
                <a:gd name="connsiteX1" fmla="*/ 5221030 w 5262379"/>
                <a:gd name="connsiteY1" fmla="*/ 718148 h 1572599"/>
                <a:gd name="connsiteX2" fmla="*/ 2611954 w 5262379"/>
                <a:gd name="connsiteY2" fmla="*/ 1572599 h 1572599"/>
                <a:gd name="connsiteX3" fmla="*/ 2878 w 5262379"/>
                <a:gd name="connsiteY3" fmla="*/ 718148 h 1572599"/>
                <a:gd name="connsiteX4" fmla="*/ 1158387 w 5262379"/>
                <a:gd name="connsiteY4" fmla="*/ 0 h 1572599"/>
                <a:gd name="connsiteX0" fmla="*/ 4101623 w 5259200"/>
                <a:gd name="connsiteY0" fmla="*/ 75462 h 1572599"/>
                <a:gd name="connsiteX1" fmla="*/ 5221030 w 5259200"/>
                <a:gd name="connsiteY1" fmla="*/ 718148 h 1572599"/>
                <a:gd name="connsiteX2" fmla="*/ 2611954 w 5259200"/>
                <a:gd name="connsiteY2" fmla="*/ 1572599 h 1572599"/>
                <a:gd name="connsiteX3" fmla="*/ 2878 w 5259200"/>
                <a:gd name="connsiteY3" fmla="*/ 718148 h 1572599"/>
                <a:gd name="connsiteX4" fmla="*/ 1158387 w 5259200"/>
                <a:gd name="connsiteY4" fmla="*/ 0 h 1572599"/>
                <a:gd name="connsiteX0" fmla="*/ 4101623 w 5224756"/>
                <a:gd name="connsiteY0" fmla="*/ 75462 h 1572599"/>
                <a:gd name="connsiteX1" fmla="*/ 5221030 w 5224756"/>
                <a:gd name="connsiteY1" fmla="*/ 718148 h 1572599"/>
                <a:gd name="connsiteX2" fmla="*/ 2611954 w 5224756"/>
                <a:gd name="connsiteY2" fmla="*/ 1572599 h 1572599"/>
                <a:gd name="connsiteX3" fmla="*/ 2878 w 5224756"/>
                <a:gd name="connsiteY3" fmla="*/ 718148 h 1572599"/>
                <a:gd name="connsiteX4" fmla="*/ 1158387 w 5224756"/>
                <a:gd name="connsiteY4" fmla="*/ 0 h 1572599"/>
                <a:gd name="connsiteX0" fmla="*/ 4101523 w 5224656"/>
                <a:gd name="connsiteY0" fmla="*/ 75462 h 1572599"/>
                <a:gd name="connsiteX1" fmla="*/ 5220930 w 5224656"/>
                <a:gd name="connsiteY1" fmla="*/ 718148 h 1572599"/>
                <a:gd name="connsiteX2" fmla="*/ 2611854 w 5224656"/>
                <a:gd name="connsiteY2" fmla="*/ 1572599 h 1572599"/>
                <a:gd name="connsiteX3" fmla="*/ 2778 w 5224656"/>
                <a:gd name="connsiteY3" fmla="*/ 718148 h 1572599"/>
                <a:gd name="connsiteX4" fmla="*/ 1158287 w 5224656"/>
                <a:gd name="connsiteY4" fmla="*/ 0 h 157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4656" h="1572599">
                  <a:moveTo>
                    <a:pt x="4101523" y="75462"/>
                  </a:moveTo>
                  <a:cubicBezTo>
                    <a:pt x="4437829" y="118995"/>
                    <a:pt x="5139996" y="317331"/>
                    <a:pt x="5220930" y="718148"/>
                  </a:cubicBezTo>
                  <a:cubicBezTo>
                    <a:pt x="5301864" y="1118965"/>
                    <a:pt x="4052807" y="1572599"/>
                    <a:pt x="2611854" y="1572599"/>
                  </a:cubicBezTo>
                  <a:cubicBezTo>
                    <a:pt x="1170901" y="1572599"/>
                    <a:pt x="58844" y="1127725"/>
                    <a:pt x="2778" y="718148"/>
                  </a:cubicBezTo>
                  <a:cubicBezTo>
                    <a:pt x="-53288" y="308571"/>
                    <a:pt x="753402" y="94707"/>
                    <a:pt x="1158287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49B4B3CE-35DC-44A1-9394-C811B17B443D}"/>
              </a:ext>
            </a:extLst>
          </p:cNvPr>
          <p:cNvGrpSpPr/>
          <p:nvPr/>
        </p:nvGrpSpPr>
        <p:grpSpPr>
          <a:xfrm>
            <a:off x="7932840" y="3597095"/>
            <a:ext cx="300771" cy="309224"/>
            <a:chOff x="2776302" y="4657642"/>
            <a:chExt cx="1550488" cy="1594059"/>
          </a:xfrm>
        </p:grpSpPr>
        <p:sp>
          <p:nvSpPr>
            <p:cNvPr id="215" name="Cylinder 812">
              <a:extLst>
                <a:ext uri="{FF2B5EF4-FFF2-40B4-BE49-F238E27FC236}">
                  <a16:creationId xmlns:a16="http://schemas.microsoft.com/office/drawing/2014/main" id="{97C68356-76ED-4307-828B-F8E97423BE48}"/>
                </a:ext>
              </a:extLst>
            </p:cNvPr>
            <p:cNvSpPr/>
            <p:nvPr/>
          </p:nvSpPr>
          <p:spPr bwMode="auto">
            <a:xfrm>
              <a:off x="2776302" y="4657642"/>
              <a:ext cx="1043832" cy="1371349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charset="0"/>
                  <a:ea typeface="Segoe UI Semibold" charset="0"/>
                  <a:cs typeface="Segoe UI Semibold" charset="0"/>
                </a:rPr>
                <a:t>SQL</a:t>
              </a:r>
            </a:p>
          </p:txBody>
        </p:sp>
        <p:sp>
          <p:nvSpPr>
            <p:cNvPr id="216" name="Freeform 146">
              <a:extLst>
                <a:ext uri="{FF2B5EF4-FFF2-40B4-BE49-F238E27FC236}">
                  <a16:creationId xmlns:a16="http://schemas.microsoft.com/office/drawing/2014/main" id="{CDF4159D-F9A6-4FB6-A04C-CAB107EC8B1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11549" y="5608740"/>
              <a:ext cx="1015241" cy="642961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359ECD34-5349-4A01-8B12-4716D4AD09EF}"/>
              </a:ext>
            </a:extLst>
          </p:cNvPr>
          <p:cNvGrpSpPr/>
          <p:nvPr/>
        </p:nvGrpSpPr>
        <p:grpSpPr>
          <a:xfrm>
            <a:off x="7907732" y="5048860"/>
            <a:ext cx="294692" cy="229438"/>
            <a:chOff x="2062250" y="1828801"/>
            <a:chExt cx="438091" cy="341085"/>
          </a:xfrm>
        </p:grpSpPr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214F52F9-C31C-4581-A7A0-869CE47FABE7}"/>
                </a:ext>
              </a:extLst>
            </p:cNvPr>
            <p:cNvGrpSpPr/>
            <p:nvPr/>
          </p:nvGrpSpPr>
          <p:grpSpPr>
            <a:xfrm>
              <a:off x="2062250" y="1828801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46" name="Rectangle 245">
                <a:extLst>
                  <a:ext uri="{FF2B5EF4-FFF2-40B4-BE49-F238E27FC236}">
                    <a16:creationId xmlns:a16="http://schemas.microsoft.com/office/drawing/2014/main" id="{1D9F5E26-DEC6-4861-AE78-6320594614D1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48" name="Straight Connector 247">
                <a:extLst>
                  <a:ext uri="{FF2B5EF4-FFF2-40B4-BE49-F238E27FC236}">
                    <a16:creationId xmlns:a16="http://schemas.microsoft.com/office/drawing/2014/main" id="{3C48D113-A7EA-46F2-92F1-74F35C5AE3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9" name="Group 218">
              <a:extLst>
                <a:ext uri="{FF2B5EF4-FFF2-40B4-BE49-F238E27FC236}">
                  <a16:creationId xmlns:a16="http://schemas.microsoft.com/office/drawing/2014/main" id="{CC6DBDA0-BE55-451E-AC0A-5F9089758D69}"/>
                </a:ext>
              </a:extLst>
            </p:cNvPr>
            <p:cNvGrpSpPr/>
            <p:nvPr/>
          </p:nvGrpSpPr>
          <p:grpSpPr>
            <a:xfrm>
              <a:off x="2093480" y="2028939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5DF8F080-AEB8-43A1-9E04-5524CC17E710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44" name="Straight Connector 243">
                <a:extLst>
                  <a:ext uri="{FF2B5EF4-FFF2-40B4-BE49-F238E27FC236}">
                    <a16:creationId xmlns:a16="http://schemas.microsoft.com/office/drawing/2014/main" id="{0B515CC7-3D8D-435E-AD2E-790630E2ED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D6757B6C-E89B-44ED-9280-204CD272AE8B}"/>
                </a:ext>
              </a:extLst>
            </p:cNvPr>
            <p:cNvGrpSpPr/>
            <p:nvPr/>
          </p:nvGrpSpPr>
          <p:grpSpPr>
            <a:xfrm>
              <a:off x="2320274" y="1907031"/>
              <a:ext cx="180067" cy="140947"/>
              <a:chOff x="2438399" y="1828800"/>
              <a:chExt cx="1923143" cy="1799771"/>
            </a:xfrm>
            <a:noFill/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82A20462-5D81-4B20-9A1E-F90E8324A665}"/>
                  </a:ext>
                </a:extLst>
              </p:cNvPr>
              <p:cNvSpPr/>
              <p:nvPr/>
            </p:nvSpPr>
            <p:spPr bwMode="auto">
              <a:xfrm>
                <a:off x="2438399" y="1828800"/>
                <a:ext cx="1923143" cy="1799771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687507D5-9C09-49BB-9D6E-ED4AE035AC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38399" y="2258786"/>
                <a:ext cx="1923143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DE2484B5-6AEE-43EF-AAE1-E8210FF183F4}"/>
                </a:ext>
              </a:extLst>
            </p:cNvPr>
            <p:cNvGrpSpPr/>
            <p:nvPr/>
          </p:nvGrpSpPr>
          <p:grpSpPr>
            <a:xfrm>
              <a:off x="2129218" y="1891046"/>
              <a:ext cx="303775" cy="247510"/>
              <a:chOff x="2129218" y="1898304"/>
              <a:chExt cx="303775" cy="247510"/>
            </a:xfrm>
          </p:grpSpPr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099C6926-26DD-4125-AA1B-FD0CBB2662D2}"/>
                  </a:ext>
                </a:extLst>
              </p:cNvPr>
              <p:cNvSpPr/>
              <p:nvPr/>
            </p:nvSpPr>
            <p:spPr bwMode="auto">
              <a:xfrm rot="20526251">
                <a:off x="2129218" y="1898304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9989885-6F8B-4CEA-BD32-A8FE79FECE54}"/>
                  </a:ext>
                </a:extLst>
              </p:cNvPr>
              <p:cNvSpPr/>
              <p:nvPr/>
            </p:nvSpPr>
            <p:spPr bwMode="auto">
              <a:xfrm>
                <a:off x="2160192" y="2100347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C24F9069-4069-469C-9A4D-A88F0960CAB1}"/>
                  </a:ext>
                </a:extLst>
              </p:cNvPr>
              <p:cNvSpPr/>
              <p:nvPr/>
            </p:nvSpPr>
            <p:spPr bwMode="auto">
              <a:xfrm rot="19893199">
                <a:off x="2387526" y="1977587"/>
                <a:ext cx="45467" cy="45467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EC37D056-9751-41C1-8B75-2552FDB761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72188" y="1931395"/>
                <a:ext cx="216280" cy="62448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979106BF-BE4E-4D22-B4A6-0141C6DF66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58937" y="1942671"/>
                <a:ext cx="23989" cy="157676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88B11CF3-40E4-45F6-81B4-5DB6279BCA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199001" y="2011149"/>
                <a:ext cx="191271" cy="95857"/>
              </a:xfrm>
              <a:prstGeom prst="line">
                <a:avLst/>
              </a:prstGeom>
              <a:ln w="12700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C62A5D0A-5A16-4B10-86C8-A4B018550094}"/>
              </a:ext>
            </a:extLst>
          </p:cNvPr>
          <p:cNvGrpSpPr/>
          <p:nvPr/>
        </p:nvGrpSpPr>
        <p:grpSpPr>
          <a:xfrm>
            <a:off x="2020886" y="4658190"/>
            <a:ext cx="248788" cy="257154"/>
            <a:chOff x="6175919" y="4051028"/>
            <a:chExt cx="248788" cy="257154"/>
          </a:xfrm>
        </p:grpSpPr>
        <p:sp>
          <p:nvSpPr>
            <p:cNvPr id="250" name="Freeform: Shape 526">
              <a:extLst>
                <a:ext uri="{FF2B5EF4-FFF2-40B4-BE49-F238E27FC236}">
                  <a16:creationId xmlns:a16="http://schemas.microsoft.com/office/drawing/2014/main" id="{A7ED6772-FFA1-4345-A3EE-67E7B1DFD61A}"/>
                </a:ext>
              </a:extLst>
            </p:cNvPr>
            <p:cNvSpPr/>
            <p:nvPr/>
          </p:nvSpPr>
          <p:spPr bwMode="auto">
            <a:xfrm>
              <a:off x="6218786" y="4102336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1" name="Freeform: Shape 527">
              <a:extLst>
                <a:ext uri="{FF2B5EF4-FFF2-40B4-BE49-F238E27FC236}">
                  <a16:creationId xmlns:a16="http://schemas.microsoft.com/office/drawing/2014/main" id="{9168C00A-FA61-4768-BD76-63CE2850128D}"/>
                </a:ext>
              </a:extLst>
            </p:cNvPr>
            <p:cNvSpPr/>
            <p:nvPr/>
          </p:nvSpPr>
          <p:spPr bwMode="auto">
            <a:xfrm>
              <a:off x="6288613" y="4132320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3" name="Freeform: Shape 529">
              <a:extLst>
                <a:ext uri="{FF2B5EF4-FFF2-40B4-BE49-F238E27FC236}">
                  <a16:creationId xmlns:a16="http://schemas.microsoft.com/office/drawing/2014/main" id="{378F6618-6B12-4B45-BD73-E0BD8650B7C0}"/>
                </a:ext>
              </a:extLst>
            </p:cNvPr>
            <p:cNvSpPr/>
            <p:nvPr/>
          </p:nvSpPr>
          <p:spPr bwMode="auto">
            <a:xfrm>
              <a:off x="6218786" y="4162303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4" name="Freeform: Shape 530">
              <a:extLst>
                <a:ext uri="{FF2B5EF4-FFF2-40B4-BE49-F238E27FC236}">
                  <a16:creationId xmlns:a16="http://schemas.microsoft.com/office/drawing/2014/main" id="{AA4EDA8B-B55A-4B33-AFE0-7567D323FD32}"/>
                </a:ext>
              </a:extLst>
            </p:cNvPr>
            <p:cNvSpPr/>
            <p:nvPr/>
          </p:nvSpPr>
          <p:spPr bwMode="auto">
            <a:xfrm>
              <a:off x="6358440" y="4162303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5" name="Freeform: Shape 531">
              <a:extLst>
                <a:ext uri="{FF2B5EF4-FFF2-40B4-BE49-F238E27FC236}">
                  <a16:creationId xmlns:a16="http://schemas.microsoft.com/office/drawing/2014/main" id="{1CDBE46B-5A64-46EF-8BD6-7FB6548FD957}"/>
                </a:ext>
              </a:extLst>
            </p:cNvPr>
            <p:cNvSpPr/>
            <p:nvPr/>
          </p:nvSpPr>
          <p:spPr bwMode="auto">
            <a:xfrm>
              <a:off x="6288613" y="4192287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6" name="Freeform: Shape 532">
              <a:extLst>
                <a:ext uri="{FF2B5EF4-FFF2-40B4-BE49-F238E27FC236}">
                  <a16:creationId xmlns:a16="http://schemas.microsoft.com/office/drawing/2014/main" id="{86736F08-776C-45D6-AD4E-38CFBEA5C8C1}"/>
                </a:ext>
              </a:extLst>
            </p:cNvPr>
            <p:cNvSpPr/>
            <p:nvPr/>
          </p:nvSpPr>
          <p:spPr bwMode="auto">
            <a:xfrm>
              <a:off x="6218786" y="4222271"/>
              <a:ext cx="44930" cy="34603"/>
            </a:xfrm>
            <a:custGeom>
              <a:avLst/>
              <a:gdLst>
                <a:gd name="connsiteX0" fmla="*/ 0 w 485816"/>
                <a:gd name="connsiteY0" fmla="*/ 0 h 374153"/>
                <a:gd name="connsiteX1" fmla="*/ 485816 w 485816"/>
                <a:gd name="connsiteY1" fmla="*/ 0 h 374153"/>
                <a:gd name="connsiteX2" fmla="*/ 485816 w 485816"/>
                <a:gd name="connsiteY2" fmla="*/ 374153 h 374153"/>
                <a:gd name="connsiteX3" fmla="*/ 0 w 485816"/>
                <a:gd name="connsiteY3" fmla="*/ 374153 h 374153"/>
                <a:gd name="connsiteX4" fmla="*/ 0 w 485816"/>
                <a:gd name="connsiteY4" fmla="*/ 0 h 37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816" h="374153">
                  <a:moveTo>
                    <a:pt x="0" y="0"/>
                  </a:moveTo>
                  <a:lnTo>
                    <a:pt x="485816" y="0"/>
                  </a:lnTo>
                  <a:lnTo>
                    <a:pt x="485816" y="374153"/>
                  </a:lnTo>
                  <a:lnTo>
                    <a:pt x="0" y="37415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7" name="Freeform: Shape 524">
              <a:extLst>
                <a:ext uri="{FF2B5EF4-FFF2-40B4-BE49-F238E27FC236}">
                  <a16:creationId xmlns:a16="http://schemas.microsoft.com/office/drawing/2014/main" id="{72DB13E8-4BA8-4C0B-BFC4-51126B4C0F0E}"/>
                </a:ext>
              </a:extLst>
            </p:cNvPr>
            <p:cNvSpPr/>
            <p:nvPr/>
          </p:nvSpPr>
          <p:spPr bwMode="auto">
            <a:xfrm>
              <a:off x="6175919" y="4051028"/>
              <a:ext cx="248788" cy="60145"/>
            </a:xfrm>
            <a:custGeom>
              <a:avLst/>
              <a:gdLst>
                <a:gd name="connsiteX0" fmla="*/ 3087278 w 3087278"/>
                <a:gd name="connsiteY0" fmla="*/ 0 h 746355"/>
                <a:gd name="connsiteX1" fmla="*/ 3087278 w 3087278"/>
                <a:gd name="connsiteY1" fmla="*/ 1 h 746355"/>
                <a:gd name="connsiteX2" fmla="*/ 3087278 w 3087278"/>
                <a:gd name="connsiteY2" fmla="*/ 746353 h 746355"/>
                <a:gd name="connsiteX3" fmla="*/ 2683739 w 3087278"/>
                <a:gd name="connsiteY3" fmla="*/ 746353 h 746355"/>
                <a:gd name="connsiteX4" fmla="*/ 2683739 w 3087278"/>
                <a:gd name="connsiteY4" fmla="*/ 403542 h 746355"/>
                <a:gd name="connsiteX5" fmla="*/ 403540 w 3087278"/>
                <a:gd name="connsiteY5" fmla="*/ 403542 h 746355"/>
                <a:gd name="connsiteX6" fmla="*/ 403540 w 3087278"/>
                <a:gd name="connsiteY6" fmla="*/ 746355 h 746355"/>
                <a:gd name="connsiteX7" fmla="*/ 0 w 3087278"/>
                <a:gd name="connsiteY7" fmla="*/ 746355 h 746355"/>
                <a:gd name="connsiteX8" fmla="*/ 0 w 3087278"/>
                <a:gd name="connsiteY8" fmla="*/ 1 h 746355"/>
                <a:gd name="connsiteX9" fmla="*/ 1 w 3087278"/>
                <a:gd name="connsiteY9" fmla="*/ 1 h 746355"/>
                <a:gd name="connsiteX10" fmla="*/ 3087278 w 3087278"/>
                <a:gd name="connsiteY10" fmla="*/ 0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9" fmla="*/ 2683739 w 3087278"/>
                <a:gd name="connsiteY9" fmla="*/ 746353 h 746355"/>
                <a:gd name="connsiteX10" fmla="*/ 2775179 w 3087278"/>
                <a:gd name="connsiteY10" fmla="*/ 494982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9" fmla="*/ 2683739 w 3087278"/>
                <a:gd name="connsiteY9" fmla="*/ 746353 h 746355"/>
                <a:gd name="connsiteX0" fmla="*/ 2683739 w 3087278"/>
                <a:gd name="connsiteY0" fmla="*/ 403542 h 746355"/>
                <a:gd name="connsiteX1" fmla="*/ 403540 w 3087278"/>
                <a:gd name="connsiteY1" fmla="*/ 403542 h 746355"/>
                <a:gd name="connsiteX2" fmla="*/ 403540 w 3087278"/>
                <a:gd name="connsiteY2" fmla="*/ 746355 h 746355"/>
                <a:gd name="connsiteX3" fmla="*/ 0 w 3087278"/>
                <a:gd name="connsiteY3" fmla="*/ 746355 h 746355"/>
                <a:gd name="connsiteX4" fmla="*/ 0 w 3087278"/>
                <a:gd name="connsiteY4" fmla="*/ 1 h 746355"/>
                <a:gd name="connsiteX5" fmla="*/ 1 w 3087278"/>
                <a:gd name="connsiteY5" fmla="*/ 1 h 746355"/>
                <a:gd name="connsiteX6" fmla="*/ 3087278 w 3087278"/>
                <a:gd name="connsiteY6" fmla="*/ 0 h 746355"/>
                <a:gd name="connsiteX7" fmla="*/ 3087278 w 3087278"/>
                <a:gd name="connsiteY7" fmla="*/ 1 h 746355"/>
                <a:gd name="connsiteX8" fmla="*/ 3087278 w 3087278"/>
                <a:gd name="connsiteY8" fmla="*/ 746353 h 746355"/>
                <a:gd name="connsiteX0" fmla="*/ 403540 w 3087278"/>
                <a:gd name="connsiteY0" fmla="*/ 403542 h 746355"/>
                <a:gd name="connsiteX1" fmla="*/ 403540 w 3087278"/>
                <a:gd name="connsiteY1" fmla="*/ 746355 h 746355"/>
                <a:gd name="connsiteX2" fmla="*/ 0 w 3087278"/>
                <a:gd name="connsiteY2" fmla="*/ 746355 h 746355"/>
                <a:gd name="connsiteX3" fmla="*/ 0 w 3087278"/>
                <a:gd name="connsiteY3" fmla="*/ 1 h 746355"/>
                <a:gd name="connsiteX4" fmla="*/ 1 w 3087278"/>
                <a:gd name="connsiteY4" fmla="*/ 1 h 746355"/>
                <a:gd name="connsiteX5" fmla="*/ 3087278 w 3087278"/>
                <a:gd name="connsiteY5" fmla="*/ 0 h 746355"/>
                <a:gd name="connsiteX6" fmla="*/ 3087278 w 3087278"/>
                <a:gd name="connsiteY6" fmla="*/ 1 h 746355"/>
                <a:gd name="connsiteX7" fmla="*/ 3087278 w 3087278"/>
                <a:gd name="connsiteY7" fmla="*/ 746353 h 746355"/>
                <a:gd name="connsiteX0" fmla="*/ 403540 w 3087278"/>
                <a:gd name="connsiteY0" fmla="*/ 746355 h 746355"/>
                <a:gd name="connsiteX1" fmla="*/ 0 w 3087278"/>
                <a:gd name="connsiteY1" fmla="*/ 746355 h 746355"/>
                <a:gd name="connsiteX2" fmla="*/ 0 w 3087278"/>
                <a:gd name="connsiteY2" fmla="*/ 1 h 746355"/>
                <a:gd name="connsiteX3" fmla="*/ 1 w 3087278"/>
                <a:gd name="connsiteY3" fmla="*/ 1 h 746355"/>
                <a:gd name="connsiteX4" fmla="*/ 3087278 w 3087278"/>
                <a:gd name="connsiteY4" fmla="*/ 0 h 746355"/>
                <a:gd name="connsiteX5" fmla="*/ 3087278 w 3087278"/>
                <a:gd name="connsiteY5" fmla="*/ 1 h 746355"/>
                <a:gd name="connsiteX6" fmla="*/ 3087278 w 3087278"/>
                <a:gd name="connsiteY6" fmla="*/ 746353 h 746355"/>
                <a:gd name="connsiteX0" fmla="*/ 0 w 3087278"/>
                <a:gd name="connsiteY0" fmla="*/ 746355 h 746355"/>
                <a:gd name="connsiteX1" fmla="*/ 0 w 3087278"/>
                <a:gd name="connsiteY1" fmla="*/ 1 h 746355"/>
                <a:gd name="connsiteX2" fmla="*/ 1 w 3087278"/>
                <a:gd name="connsiteY2" fmla="*/ 1 h 746355"/>
                <a:gd name="connsiteX3" fmla="*/ 3087278 w 3087278"/>
                <a:gd name="connsiteY3" fmla="*/ 0 h 746355"/>
                <a:gd name="connsiteX4" fmla="*/ 3087278 w 3087278"/>
                <a:gd name="connsiteY4" fmla="*/ 1 h 746355"/>
                <a:gd name="connsiteX5" fmla="*/ 3087278 w 3087278"/>
                <a:gd name="connsiteY5" fmla="*/ 746353 h 74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7278" h="746355">
                  <a:moveTo>
                    <a:pt x="0" y="746355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3087278" y="0"/>
                  </a:lnTo>
                  <a:lnTo>
                    <a:pt x="3087278" y="1"/>
                  </a:lnTo>
                  <a:lnTo>
                    <a:pt x="3087278" y="746353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9" name="Freeform: Shape 533">
              <a:extLst>
                <a:ext uri="{FF2B5EF4-FFF2-40B4-BE49-F238E27FC236}">
                  <a16:creationId xmlns:a16="http://schemas.microsoft.com/office/drawing/2014/main" id="{6FAAEB38-1056-470F-95CC-241CA54FD3CB}"/>
                </a:ext>
              </a:extLst>
            </p:cNvPr>
            <p:cNvSpPr/>
            <p:nvPr/>
          </p:nvSpPr>
          <p:spPr bwMode="auto">
            <a:xfrm>
              <a:off x="6175919" y="4248037"/>
              <a:ext cx="248788" cy="60145"/>
            </a:xfrm>
            <a:custGeom>
              <a:avLst/>
              <a:gdLst>
                <a:gd name="connsiteX0" fmla="*/ 2683739 w 3087278"/>
                <a:gd name="connsiteY0" fmla="*/ 0 h 746354"/>
                <a:gd name="connsiteX1" fmla="*/ 3087278 w 3087278"/>
                <a:gd name="connsiteY1" fmla="*/ 0 h 746354"/>
                <a:gd name="connsiteX2" fmla="*/ 3087278 w 3087278"/>
                <a:gd name="connsiteY2" fmla="*/ 746353 h 746354"/>
                <a:gd name="connsiteX3" fmla="*/ 3087277 w 3087278"/>
                <a:gd name="connsiteY3" fmla="*/ 746353 h 746354"/>
                <a:gd name="connsiteX4" fmla="*/ 0 w 3087278"/>
                <a:gd name="connsiteY4" fmla="*/ 746354 h 746354"/>
                <a:gd name="connsiteX5" fmla="*/ 0 w 3087278"/>
                <a:gd name="connsiteY5" fmla="*/ 746353 h 746354"/>
                <a:gd name="connsiteX6" fmla="*/ 0 w 3087278"/>
                <a:gd name="connsiteY6" fmla="*/ 1 h 746354"/>
                <a:gd name="connsiteX7" fmla="*/ 403540 w 3087278"/>
                <a:gd name="connsiteY7" fmla="*/ 1 h 746354"/>
                <a:gd name="connsiteX8" fmla="*/ 403540 w 3087278"/>
                <a:gd name="connsiteY8" fmla="*/ 342813 h 746354"/>
                <a:gd name="connsiteX9" fmla="*/ 2683739 w 3087278"/>
                <a:gd name="connsiteY9" fmla="*/ 342813 h 746354"/>
                <a:gd name="connsiteX10" fmla="*/ 2683739 w 3087278"/>
                <a:gd name="connsiteY10" fmla="*/ 0 h 746354"/>
                <a:gd name="connsiteX0" fmla="*/ 403540 w 3087278"/>
                <a:gd name="connsiteY0" fmla="*/ 342813 h 746354"/>
                <a:gd name="connsiteX1" fmla="*/ 2683739 w 3087278"/>
                <a:gd name="connsiteY1" fmla="*/ 342813 h 746354"/>
                <a:gd name="connsiteX2" fmla="*/ 2683739 w 3087278"/>
                <a:gd name="connsiteY2" fmla="*/ 0 h 746354"/>
                <a:gd name="connsiteX3" fmla="*/ 3087278 w 3087278"/>
                <a:gd name="connsiteY3" fmla="*/ 0 h 746354"/>
                <a:gd name="connsiteX4" fmla="*/ 3087278 w 3087278"/>
                <a:gd name="connsiteY4" fmla="*/ 746353 h 746354"/>
                <a:gd name="connsiteX5" fmla="*/ 3087277 w 3087278"/>
                <a:gd name="connsiteY5" fmla="*/ 746353 h 746354"/>
                <a:gd name="connsiteX6" fmla="*/ 0 w 3087278"/>
                <a:gd name="connsiteY6" fmla="*/ 746354 h 746354"/>
                <a:gd name="connsiteX7" fmla="*/ 0 w 3087278"/>
                <a:gd name="connsiteY7" fmla="*/ 746353 h 746354"/>
                <a:gd name="connsiteX8" fmla="*/ 0 w 3087278"/>
                <a:gd name="connsiteY8" fmla="*/ 1 h 746354"/>
                <a:gd name="connsiteX9" fmla="*/ 403540 w 3087278"/>
                <a:gd name="connsiteY9" fmla="*/ 1 h 746354"/>
                <a:gd name="connsiteX10" fmla="*/ 494980 w 3087278"/>
                <a:gd name="connsiteY10" fmla="*/ 434253 h 746354"/>
                <a:gd name="connsiteX0" fmla="*/ 403540 w 3087278"/>
                <a:gd name="connsiteY0" fmla="*/ 342813 h 746354"/>
                <a:gd name="connsiteX1" fmla="*/ 2683739 w 3087278"/>
                <a:gd name="connsiteY1" fmla="*/ 342813 h 746354"/>
                <a:gd name="connsiteX2" fmla="*/ 2683739 w 3087278"/>
                <a:gd name="connsiteY2" fmla="*/ 0 h 746354"/>
                <a:gd name="connsiteX3" fmla="*/ 3087278 w 3087278"/>
                <a:gd name="connsiteY3" fmla="*/ 0 h 746354"/>
                <a:gd name="connsiteX4" fmla="*/ 3087278 w 3087278"/>
                <a:gd name="connsiteY4" fmla="*/ 746353 h 746354"/>
                <a:gd name="connsiteX5" fmla="*/ 3087277 w 3087278"/>
                <a:gd name="connsiteY5" fmla="*/ 746353 h 746354"/>
                <a:gd name="connsiteX6" fmla="*/ 0 w 3087278"/>
                <a:gd name="connsiteY6" fmla="*/ 746354 h 746354"/>
                <a:gd name="connsiteX7" fmla="*/ 0 w 3087278"/>
                <a:gd name="connsiteY7" fmla="*/ 746353 h 746354"/>
                <a:gd name="connsiteX8" fmla="*/ 0 w 3087278"/>
                <a:gd name="connsiteY8" fmla="*/ 1 h 746354"/>
                <a:gd name="connsiteX9" fmla="*/ 403540 w 3087278"/>
                <a:gd name="connsiteY9" fmla="*/ 1 h 746354"/>
                <a:gd name="connsiteX0" fmla="*/ 2683739 w 3087278"/>
                <a:gd name="connsiteY0" fmla="*/ 342813 h 746354"/>
                <a:gd name="connsiteX1" fmla="*/ 2683739 w 3087278"/>
                <a:gd name="connsiteY1" fmla="*/ 0 h 746354"/>
                <a:gd name="connsiteX2" fmla="*/ 3087278 w 3087278"/>
                <a:gd name="connsiteY2" fmla="*/ 0 h 746354"/>
                <a:gd name="connsiteX3" fmla="*/ 3087278 w 3087278"/>
                <a:gd name="connsiteY3" fmla="*/ 746353 h 746354"/>
                <a:gd name="connsiteX4" fmla="*/ 3087277 w 3087278"/>
                <a:gd name="connsiteY4" fmla="*/ 746353 h 746354"/>
                <a:gd name="connsiteX5" fmla="*/ 0 w 3087278"/>
                <a:gd name="connsiteY5" fmla="*/ 746354 h 746354"/>
                <a:gd name="connsiteX6" fmla="*/ 0 w 3087278"/>
                <a:gd name="connsiteY6" fmla="*/ 746353 h 746354"/>
                <a:gd name="connsiteX7" fmla="*/ 0 w 3087278"/>
                <a:gd name="connsiteY7" fmla="*/ 1 h 746354"/>
                <a:gd name="connsiteX8" fmla="*/ 403540 w 3087278"/>
                <a:gd name="connsiteY8" fmla="*/ 1 h 746354"/>
                <a:gd name="connsiteX0" fmla="*/ 2683739 w 3087278"/>
                <a:gd name="connsiteY0" fmla="*/ 342813 h 746354"/>
                <a:gd name="connsiteX1" fmla="*/ 2683739 w 3087278"/>
                <a:gd name="connsiteY1" fmla="*/ 0 h 746354"/>
                <a:gd name="connsiteX2" fmla="*/ 3087278 w 3087278"/>
                <a:gd name="connsiteY2" fmla="*/ 0 h 746354"/>
                <a:gd name="connsiteX3" fmla="*/ 3087278 w 3087278"/>
                <a:gd name="connsiteY3" fmla="*/ 746353 h 746354"/>
                <a:gd name="connsiteX4" fmla="*/ 3087277 w 3087278"/>
                <a:gd name="connsiteY4" fmla="*/ 746353 h 746354"/>
                <a:gd name="connsiteX5" fmla="*/ 0 w 3087278"/>
                <a:gd name="connsiteY5" fmla="*/ 746354 h 746354"/>
                <a:gd name="connsiteX6" fmla="*/ 0 w 3087278"/>
                <a:gd name="connsiteY6" fmla="*/ 746353 h 746354"/>
                <a:gd name="connsiteX7" fmla="*/ 0 w 3087278"/>
                <a:gd name="connsiteY7" fmla="*/ 1 h 746354"/>
                <a:gd name="connsiteX0" fmla="*/ 2683739 w 3087278"/>
                <a:gd name="connsiteY0" fmla="*/ 0 h 746354"/>
                <a:gd name="connsiteX1" fmla="*/ 3087278 w 3087278"/>
                <a:gd name="connsiteY1" fmla="*/ 0 h 746354"/>
                <a:gd name="connsiteX2" fmla="*/ 3087278 w 3087278"/>
                <a:gd name="connsiteY2" fmla="*/ 746353 h 746354"/>
                <a:gd name="connsiteX3" fmla="*/ 3087277 w 3087278"/>
                <a:gd name="connsiteY3" fmla="*/ 746353 h 746354"/>
                <a:gd name="connsiteX4" fmla="*/ 0 w 3087278"/>
                <a:gd name="connsiteY4" fmla="*/ 746354 h 746354"/>
                <a:gd name="connsiteX5" fmla="*/ 0 w 3087278"/>
                <a:gd name="connsiteY5" fmla="*/ 746353 h 746354"/>
                <a:gd name="connsiteX6" fmla="*/ 0 w 3087278"/>
                <a:gd name="connsiteY6" fmla="*/ 1 h 746354"/>
                <a:gd name="connsiteX0" fmla="*/ 3087278 w 3087278"/>
                <a:gd name="connsiteY0" fmla="*/ 0 h 746354"/>
                <a:gd name="connsiteX1" fmla="*/ 3087278 w 3087278"/>
                <a:gd name="connsiteY1" fmla="*/ 746353 h 746354"/>
                <a:gd name="connsiteX2" fmla="*/ 3087277 w 3087278"/>
                <a:gd name="connsiteY2" fmla="*/ 746353 h 746354"/>
                <a:gd name="connsiteX3" fmla="*/ 0 w 3087278"/>
                <a:gd name="connsiteY3" fmla="*/ 746354 h 746354"/>
                <a:gd name="connsiteX4" fmla="*/ 0 w 3087278"/>
                <a:gd name="connsiteY4" fmla="*/ 746353 h 746354"/>
                <a:gd name="connsiteX5" fmla="*/ 0 w 3087278"/>
                <a:gd name="connsiteY5" fmla="*/ 1 h 74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7278" h="746354">
                  <a:moveTo>
                    <a:pt x="3087278" y="0"/>
                  </a:moveTo>
                  <a:lnTo>
                    <a:pt x="3087278" y="746353"/>
                  </a:lnTo>
                  <a:lnTo>
                    <a:pt x="3087277" y="746353"/>
                  </a:lnTo>
                  <a:lnTo>
                    <a:pt x="0" y="746354"/>
                  </a:lnTo>
                  <a:lnTo>
                    <a:pt x="0" y="746353"/>
                  </a:lnTo>
                  <a:lnTo>
                    <a:pt x="0" y="1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61" name="Rectangle 260"/>
          <p:cNvSpPr/>
          <p:nvPr/>
        </p:nvSpPr>
        <p:spPr>
          <a:xfrm>
            <a:off x="2248716" y="3609444"/>
            <a:ext cx="86059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Kafka</a:t>
            </a:r>
          </a:p>
        </p:txBody>
      </p:sp>
      <p:grpSp>
        <p:nvGrpSpPr>
          <p:cNvPr id="263" name="Group 262"/>
          <p:cNvGrpSpPr/>
          <p:nvPr/>
        </p:nvGrpSpPr>
        <p:grpSpPr>
          <a:xfrm>
            <a:off x="2089617" y="3585906"/>
            <a:ext cx="171386" cy="291150"/>
            <a:chOff x="10668000" y="1393825"/>
            <a:chExt cx="527050" cy="895350"/>
          </a:xfrm>
        </p:grpSpPr>
        <p:sp>
          <p:nvSpPr>
            <p:cNvPr id="265" name="Oval 264"/>
            <p:cNvSpPr/>
            <p:nvPr/>
          </p:nvSpPr>
          <p:spPr bwMode="auto">
            <a:xfrm>
              <a:off x="10690225" y="139382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7" name="Oval 266"/>
            <p:cNvSpPr/>
            <p:nvPr/>
          </p:nvSpPr>
          <p:spPr bwMode="auto">
            <a:xfrm>
              <a:off x="10690225" y="208597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8" name="Oval 267"/>
            <p:cNvSpPr/>
            <p:nvPr/>
          </p:nvSpPr>
          <p:spPr bwMode="auto">
            <a:xfrm>
              <a:off x="10991850" y="1911350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9" name="Oval 268"/>
            <p:cNvSpPr/>
            <p:nvPr/>
          </p:nvSpPr>
          <p:spPr bwMode="auto">
            <a:xfrm>
              <a:off x="10991850" y="1565275"/>
              <a:ext cx="203200" cy="2032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0" name="Oval 269"/>
            <p:cNvSpPr/>
            <p:nvPr/>
          </p:nvSpPr>
          <p:spPr bwMode="auto">
            <a:xfrm>
              <a:off x="10668000" y="1717675"/>
              <a:ext cx="247650" cy="24765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271" name="Straight Connector 270"/>
            <p:cNvCxnSpPr/>
            <p:nvPr/>
          </p:nvCxnSpPr>
          <p:spPr>
            <a:xfrm>
              <a:off x="10791825" y="1597025"/>
              <a:ext cx="0" cy="12065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/>
            <p:nvPr/>
          </p:nvCxnSpPr>
          <p:spPr>
            <a:xfrm>
              <a:off x="10791825" y="1966190"/>
              <a:ext cx="0" cy="12065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/>
            <p:nvPr/>
          </p:nvCxnSpPr>
          <p:spPr>
            <a:xfrm flipH="1">
              <a:off x="10895906" y="1717148"/>
              <a:ext cx="109141" cy="61417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/>
            <p:cNvCxnSpPr/>
            <p:nvPr/>
          </p:nvCxnSpPr>
          <p:spPr>
            <a:xfrm>
              <a:off x="10905558" y="1903102"/>
              <a:ext cx="101228" cy="56965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phic 8" descr="Gears">
            <a:extLst>
              <a:ext uri="{FF2B5EF4-FFF2-40B4-BE49-F238E27FC236}">
                <a16:creationId xmlns:a16="http://schemas.microsoft.com/office/drawing/2014/main" id="{A982612A-8544-4616-AD27-E295720C71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67987" y="3517736"/>
            <a:ext cx="447063" cy="447063"/>
          </a:xfrm>
          <a:prstGeom prst="rect">
            <a:avLst/>
          </a:prstGeom>
        </p:spPr>
      </p:pic>
      <p:grpSp>
        <p:nvGrpSpPr>
          <p:cNvPr id="208" name="Group 11">
            <a:extLst>
              <a:ext uri="{FF2B5EF4-FFF2-40B4-BE49-F238E27FC236}">
                <a16:creationId xmlns:a16="http://schemas.microsoft.com/office/drawing/2014/main" id="{80D4BD31-643D-4C8C-8BE9-C522C5C8BF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0509" y="4690365"/>
            <a:ext cx="215115" cy="234323"/>
            <a:chOff x="3861" y="4291602"/>
            <a:chExt cx="112" cy="244433"/>
          </a:xfrm>
        </p:grpSpPr>
        <p:sp>
          <p:nvSpPr>
            <p:cNvPr id="209" name="Freeform 12">
              <a:extLst>
                <a:ext uri="{FF2B5EF4-FFF2-40B4-BE49-F238E27FC236}">
                  <a16:creationId xmlns:a16="http://schemas.microsoft.com/office/drawing/2014/main" id="{C510F963-63DC-4E37-A7E4-87995035F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" y="4291602"/>
              <a:ext cx="112" cy="244433"/>
            </a:xfrm>
            <a:custGeom>
              <a:avLst/>
              <a:gdLst>
                <a:gd name="T0" fmla="*/ 24 w 80"/>
                <a:gd name="T1" fmla="*/ 36 h 88"/>
                <a:gd name="T2" fmla="*/ 4 w 80"/>
                <a:gd name="T3" fmla="*/ 74 h 88"/>
                <a:gd name="T4" fmla="*/ 12 w 80"/>
                <a:gd name="T5" fmla="*/ 88 h 88"/>
                <a:gd name="T6" fmla="*/ 68 w 80"/>
                <a:gd name="T7" fmla="*/ 88 h 88"/>
                <a:gd name="T8" fmla="*/ 76 w 80"/>
                <a:gd name="T9" fmla="*/ 74 h 88"/>
                <a:gd name="T10" fmla="*/ 56 w 80"/>
                <a:gd name="T11" fmla="*/ 36 h 88"/>
                <a:gd name="T12" fmla="*/ 56 w 80"/>
                <a:gd name="T13" fmla="*/ 0 h 88"/>
                <a:gd name="T14" fmla="*/ 24 w 80"/>
                <a:gd name="T15" fmla="*/ 0 h 88"/>
                <a:gd name="T16" fmla="*/ 24 w 80"/>
                <a:gd name="T17" fmla="*/ 3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8">
                  <a:moveTo>
                    <a:pt x="24" y="36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0" y="80"/>
                    <a:pt x="5" y="88"/>
                    <a:pt x="12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75" y="88"/>
                    <a:pt x="80" y="80"/>
                    <a:pt x="76" y="7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36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2" name="Line 13">
              <a:extLst>
                <a:ext uri="{FF2B5EF4-FFF2-40B4-BE49-F238E27FC236}">
                  <a16:creationId xmlns:a16="http://schemas.microsoft.com/office/drawing/2014/main" id="{BE72AFEB-8F89-4A03-B20A-C18C28F676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4" y="4469918"/>
              <a:ext cx="84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3" name="Line 14">
              <a:extLst>
                <a:ext uri="{FF2B5EF4-FFF2-40B4-BE49-F238E27FC236}">
                  <a16:creationId xmlns:a16="http://schemas.microsoft.com/office/drawing/2014/main" id="{A0597469-5FEB-4766-BEB0-C5675E7331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335680"/>
              <a:ext cx="16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Line 15">
              <a:extLst>
                <a:ext uri="{FF2B5EF4-FFF2-40B4-BE49-F238E27FC236}">
                  <a16:creationId xmlns:a16="http://schemas.microsoft.com/office/drawing/2014/main" id="{52622AA2-2972-4B51-BCEC-F1C9B3D428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379758"/>
              <a:ext cx="16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5" name="Line 16">
              <a:extLst>
                <a:ext uri="{FF2B5EF4-FFF2-40B4-BE49-F238E27FC236}">
                  <a16:creationId xmlns:a16="http://schemas.microsoft.com/office/drawing/2014/main" id="{63059627-DA07-43A3-B996-9F93AEF853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425840"/>
              <a:ext cx="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6" name="Line 17">
              <a:extLst>
                <a:ext uri="{FF2B5EF4-FFF2-40B4-BE49-F238E27FC236}">
                  <a16:creationId xmlns:a16="http://schemas.microsoft.com/office/drawing/2014/main" id="{EB7F23CE-1FC9-43FA-B246-F2EB088337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83" y="4291602"/>
              <a:ext cx="68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7117917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ight Bracket 40">
            <a:extLst>
              <a:ext uri="{FF2B5EF4-FFF2-40B4-BE49-F238E27FC236}">
                <a16:creationId xmlns:a16="http://schemas.microsoft.com/office/drawing/2014/main" id="{4873D825-93E2-47F3-96FB-E6C4EE7610B3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D135903-648C-4C38-9454-98816554D262}"/>
              </a:ext>
            </a:extLst>
          </p:cNvPr>
          <p:cNvSpPr txBox="1"/>
          <p:nvPr/>
        </p:nvSpPr>
        <p:spPr>
          <a:xfrm>
            <a:off x="290776" y="511826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221D44A-2707-4585-B2EE-005FAFFFB169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7A8E4E85-7FB5-4817-B369-410D86C755D4}"/>
              </a:ext>
            </a:extLst>
          </p:cNvPr>
          <p:cNvCxnSpPr>
            <a:cxnSpLocks/>
          </p:cNvCxnSpPr>
          <p:nvPr/>
        </p:nvCxnSpPr>
        <p:spPr>
          <a:xfrm>
            <a:off x="5529431" y="2815789"/>
            <a:ext cx="1237066" cy="9756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68D1009-4307-466B-8F17-4E80DEE5EB6E}"/>
              </a:ext>
            </a:extLst>
          </p:cNvPr>
          <p:cNvCxnSpPr>
            <a:cxnSpLocks/>
          </p:cNvCxnSpPr>
          <p:nvPr/>
        </p:nvCxnSpPr>
        <p:spPr>
          <a:xfrm>
            <a:off x="9923284" y="4914098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F6BB1982-13BC-4712-AC3D-76B290C29D45}"/>
              </a:ext>
            </a:extLst>
          </p:cNvPr>
          <p:cNvSpPr/>
          <p:nvPr/>
        </p:nvSpPr>
        <p:spPr>
          <a:xfrm>
            <a:off x="4606914" y="3117106"/>
            <a:ext cx="1096619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torag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81C7110-85F1-45E4-A97C-B354462E0C3F}"/>
              </a:ext>
            </a:extLst>
          </p:cNvPr>
          <p:cNvSpPr/>
          <p:nvPr/>
        </p:nvSpPr>
        <p:spPr>
          <a:xfrm>
            <a:off x="4592872" y="4833081"/>
            <a:ext cx="73318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lybas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365CB6B-C111-4EF6-A8EB-C3D7A26E3EB2}"/>
              </a:ext>
            </a:extLst>
          </p:cNvPr>
          <p:cNvSpPr/>
          <p:nvPr/>
        </p:nvSpPr>
        <p:spPr>
          <a:xfrm>
            <a:off x="8424579" y="5240013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QL Data Warehous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D9DFE0C-95FA-425B-B41B-1499A18FB1DD}"/>
              </a:ext>
            </a:extLst>
          </p:cNvPr>
          <p:cNvSpPr/>
          <p:nvPr/>
        </p:nvSpPr>
        <p:spPr>
          <a:xfrm>
            <a:off x="2672827" y="311710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460515A-A536-4B1B-AE1B-F7082BCF84D2}"/>
              </a:ext>
            </a:extLst>
          </p:cNvPr>
          <p:cNvSpPr/>
          <p:nvPr/>
        </p:nvSpPr>
        <p:spPr>
          <a:xfrm>
            <a:off x="2672827" y="5057423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FCD21D92-56F1-4BFB-9640-53FC5D34C8DC}"/>
              </a:ext>
            </a:extLst>
          </p:cNvPr>
          <p:cNvCxnSpPr>
            <a:cxnSpLocks/>
            <a:endCxn id="140" idx="0"/>
          </p:cNvCxnSpPr>
          <p:nvPr/>
        </p:nvCxnSpPr>
        <p:spPr>
          <a:xfrm>
            <a:off x="7634177" y="2849402"/>
            <a:ext cx="3634614" cy="1043940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E71947B4-BBCF-441C-AF5B-C6AEC3B795B7}"/>
              </a:ext>
            </a:extLst>
          </p:cNvPr>
          <p:cNvSpPr/>
          <p:nvPr/>
        </p:nvSpPr>
        <p:spPr>
          <a:xfrm>
            <a:off x="6502777" y="3117106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79C5A03-58F6-442B-ACD6-049453FCB69F}"/>
              </a:ext>
            </a:extLst>
          </p:cNvPr>
          <p:cNvGrpSpPr/>
          <p:nvPr/>
        </p:nvGrpSpPr>
        <p:grpSpPr>
          <a:xfrm>
            <a:off x="553831" y="4618795"/>
            <a:ext cx="1064771" cy="406286"/>
            <a:chOff x="579957" y="1614888"/>
            <a:chExt cx="1064771" cy="406286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36B4970-CDBF-4F46-B5CD-3D897015DC21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B5F94B8A-328F-4744-B000-302C1B7849DD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697A6FA7-07CA-41D2-8CA8-8D08B28ECE76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D187904E-9C82-4B0D-AB0F-F68F5A1C0A04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0E24DF1A-F7A2-4DE0-81FC-A364F46A80EB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id="{91A96525-2150-4BAE-A12C-90F6A5645A05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27F6A258-3ABD-42AD-894B-EB3234DC5DEC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E4356E23-53CE-4B6E-9B40-9553D408A8E1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BE6CA097-4853-4DB1-93C5-6B9D23DAA86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74" name="Freeform 106">
                <a:extLst>
                  <a:ext uri="{FF2B5EF4-FFF2-40B4-BE49-F238E27FC236}">
                    <a16:creationId xmlns:a16="http://schemas.microsoft.com/office/drawing/2014/main" id="{7FBC81FF-747C-4D82-9AC4-FB02D5613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067FE61-E6AB-4347-98EC-F3FE5D30AF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23C4EFF-6AB9-4BD0-87C6-8DF803E98D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A1F0ADFA-2CF3-4ADB-B7FA-17B7DFF532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0ADD494C-2790-4063-8BD3-F244F4643682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86" name="Group 4">
              <a:extLst>
                <a:ext uri="{FF2B5EF4-FFF2-40B4-BE49-F238E27FC236}">
                  <a16:creationId xmlns:a16="http://schemas.microsoft.com/office/drawing/2014/main" id="{F5030523-C20B-4BB4-B983-D735A39E6CA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42F045D9-F1E6-4060-AF17-85DD76BC2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99" name="Freeform 6">
                <a:extLst>
                  <a:ext uri="{FF2B5EF4-FFF2-40B4-BE49-F238E27FC236}">
                    <a16:creationId xmlns:a16="http://schemas.microsoft.com/office/drawing/2014/main" id="{416F93BB-001B-4D8D-AE3E-EB7CF29E1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00" name="Freeform 7">
                <a:extLst>
                  <a:ext uri="{FF2B5EF4-FFF2-40B4-BE49-F238E27FC236}">
                    <a16:creationId xmlns:a16="http://schemas.microsoft.com/office/drawing/2014/main" id="{890F743C-3CF0-43A7-8DB9-2992FD8C1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DDB466A7-F896-4AA8-948E-6A66650A1D6C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6B1B1902-72DD-4801-A919-52377CCB657B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96" name="Snip Single Corner Rectangle 26">
                  <a:extLst>
                    <a:ext uri="{FF2B5EF4-FFF2-40B4-BE49-F238E27FC236}">
                      <a16:creationId xmlns:a16="http://schemas.microsoft.com/office/drawing/2014/main" id="{A863CA91-C395-40F4-B8BB-25A4037A146E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7" name="Triangle 27">
                  <a:extLst>
                    <a:ext uri="{FF2B5EF4-FFF2-40B4-BE49-F238E27FC236}">
                      <a16:creationId xmlns:a16="http://schemas.microsoft.com/office/drawing/2014/main" id="{D4AB003D-5D08-4EB0-8F86-54C2147A68A2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DB925629-2F2A-4E2B-A9D6-2D7A2A966E6D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3AB728FB-8BD0-40D5-B9DC-425E9C3CCC9C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425C96B-A6E9-482C-9614-82D3C988FCFE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AD719FA0-32E9-44DA-820B-1BB43F276429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5AE5CB4-D82C-4508-9E9E-BB0393F799FC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B0B0BB4F-0F9E-4E56-A756-7BAA3DE28C59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0" name="Isosceles Triangle 89">
                <a:extLst>
                  <a:ext uri="{FF2B5EF4-FFF2-40B4-BE49-F238E27FC236}">
                    <a16:creationId xmlns:a16="http://schemas.microsoft.com/office/drawing/2014/main" id="{35DDAF83-23A1-4BC4-9342-7ACBD940EC31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611846C2-D18F-463E-A182-BA22BBD7696B}"/>
              </a:ext>
            </a:extLst>
          </p:cNvPr>
          <p:cNvGrpSpPr/>
          <p:nvPr/>
        </p:nvGrpSpPr>
        <p:grpSpPr>
          <a:xfrm>
            <a:off x="4878110" y="2580933"/>
            <a:ext cx="554226" cy="494220"/>
            <a:chOff x="2488012" y="1320237"/>
            <a:chExt cx="4696415" cy="4187934"/>
          </a:xfrm>
        </p:grpSpPr>
        <p:sp>
          <p:nvSpPr>
            <p:cNvPr id="102" name="Hexagon 101">
              <a:extLst>
                <a:ext uri="{FF2B5EF4-FFF2-40B4-BE49-F238E27FC236}">
                  <a16:creationId xmlns:a16="http://schemas.microsoft.com/office/drawing/2014/main" id="{C1F08C9C-6DAD-4C56-A1E5-14FA7D588624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3" name="Snip Single Corner Rectangle 26">
              <a:extLst>
                <a:ext uri="{FF2B5EF4-FFF2-40B4-BE49-F238E27FC236}">
                  <a16:creationId xmlns:a16="http://schemas.microsoft.com/office/drawing/2014/main" id="{2B14F4BF-6DC9-4A8E-A250-52E084231832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2291D89C-7211-4A5F-927E-40655700F13E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EB6577-80F9-4A0D-8DB3-F738C8FCB9B2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A59D14A1-59CA-4EF1-8EE5-8A2AC570EC19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B89ABACF-A80E-4A0A-98E5-0D85956CC8BA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271D40B5-EAED-4B58-BBA6-E5B15DC5DAE9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5" name="Right Triangle 104">
              <a:extLst>
                <a:ext uri="{FF2B5EF4-FFF2-40B4-BE49-F238E27FC236}">
                  <a16:creationId xmlns:a16="http://schemas.microsoft.com/office/drawing/2014/main" id="{91042C83-E435-4F2A-AAF9-96EDE1D33BB0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BBA0119-1288-45CA-9145-08461052AFE2}"/>
              </a:ext>
            </a:extLst>
          </p:cNvPr>
          <p:cNvGrpSpPr/>
          <p:nvPr/>
        </p:nvGrpSpPr>
        <p:grpSpPr>
          <a:xfrm>
            <a:off x="9081256" y="4439748"/>
            <a:ext cx="732312" cy="719160"/>
            <a:chOff x="2549926" y="1227604"/>
            <a:chExt cx="5177116" cy="5084148"/>
          </a:xfrm>
        </p:grpSpPr>
        <p:sp>
          <p:nvSpPr>
            <p:cNvPr id="111" name="Freeform: Shape 821">
              <a:extLst>
                <a:ext uri="{FF2B5EF4-FFF2-40B4-BE49-F238E27FC236}">
                  <a16:creationId xmlns:a16="http://schemas.microsoft.com/office/drawing/2014/main" id="{A48E275E-C3C4-4A36-8857-B51C049FA95A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BF0FFC43-E9BB-4EE4-8FAF-5D0D3A29275A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438A53C0-53FC-4712-AB5D-1DAA506F0774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7C2D434A-6DCD-4323-B6FF-00B8F2AB8AEA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1132E7D1-FE74-4945-A981-C20103E7F0ED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7AF2109F-F471-4A9D-AAB9-46BE368CF067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8320144F-4AF3-43E0-80E9-6540B1EA9C44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8" name="Cylinder 828">
              <a:extLst>
                <a:ext uri="{FF2B5EF4-FFF2-40B4-BE49-F238E27FC236}">
                  <a16:creationId xmlns:a16="http://schemas.microsoft.com/office/drawing/2014/main" id="{C74FB9D6-540D-42B8-BB7E-41BCC7573E4B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10C4126-9CCD-46A2-ABCD-BA316A5407D3}"/>
              </a:ext>
            </a:extLst>
          </p:cNvPr>
          <p:cNvGrpSpPr/>
          <p:nvPr/>
        </p:nvGrpSpPr>
        <p:grpSpPr>
          <a:xfrm>
            <a:off x="2953700" y="2587700"/>
            <a:ext cx="485337" cy="487453"/>
            <a:chOff x="5279190" y="5401430"/>
            <a:chExt cx="1101836" cy="1106637"/>
          </a:xfrm>
        </p:grpSpPr>
        <p:sp>
          <p:nvSpPr>
            <p:cNvPr id="120" name="Freeform: Shape 815">
              <a:extLst>
                <a:ext uri="{FF2B5EF4-FFF2-40B4-BE49-F238E27FC236}">
                  <a16:creationId xmlns:a16="http://schemas.microsoft.com/office/drawing/2014/main" id="{2B649B38-590C-455B-AC92-B2E5E3D22380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1" name="Freeform: Shape 816">
              <a:extLst>
                <a:ext uri="{FF2B5EF4-FFF2-40B4-BE49-F238E27FC236}">
                  <a16:creationId xmlns:a16="http://schemas.microsoft.com/office/drawing/2014/main" id="{4409128E-79E1-420C-A08A-140ADB76C667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2" name="Freeform: Shape 817">
              <a:extLst>
                <a:ext uri="{FF2B5EF4-FFF2-40B4-BE49-F238E27FC236}">
                  <a16:creationId xmlns:a16="http://schemas.microsoft.com/office/drawing/2014/main" id="{85C05722-B50C-47C1-8E08-780D7E91F5F9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3" name="Freeform: Shape 818">
              <a:extLst>
                <a:ext uri="{FF2B5EF4-FFF2-40B4-BE49-F238E27FC236}">
                  <a16:creationId xmlns:a16="http://schemas.microsoft.com/office/drawing/2014/main" id="{EDB0C3E3-66B8-4011-859D-92EFDF08CD9D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124" name="Freeform: Shape 819">
              <a:extLst>
                <a:ext uri="{FF2B5EF4-FFF2-40B4-BE49-F238E27FC236}">
                  <a16:creationId xmlns:a16="http://schemas.microsoft.com/office/drawing/2014/main" id="{2666FB3D-6BE9-417E-BCCA-5C558AAFD344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BD82E912-1E00-4DE2-97F6-30A24D1F25B1}"/>
              </a:ext>
            </a:extLst>
          </p:cNvPr>
          <p:cNvCxnSpPr>
            <a:cxnSpLocks/>
            <a:stCxn id="55" idx="2"/>
          </p:cNvCxnSpPr>
          <p:nvPr/>
        </p:nvCxnSpPr>
        <p:spPr>
          <a:xfrm rot="16200000" flipH="1">
            <a:off x="6337491" y="2188755"/>
            <a:ext cx="1291263" cy="3655796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A6F4BF33-5225-450D-927C-7940B48BC4CF}"/>
              </a:ext>
            </a:extLst>
          </p:cNvPr>
          <p:cNvCxnSpPr>
            <a:cxnSpLocks/>
          </p:cNvCxnSpPr>
          <p:nvPr/>
        </p:nvCxnSpPr>
        <p:spPr>
          <a:xfrm>
            <a:off x="3572438" y="483662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1B8BBAF3-1F56-47F4-9C52-A8F5660B4B95}"/>
              </a:ext>
            </a:extLst>
          </p:cNvPr>
          <p:cNvCxnSpPr>
            <a:cxnSpLocks/>
          </p:cNvCxnSpPr>
          <p:nvPr/>
        </p:nvCxnSpPr>
        <p:spPr>
          <a:xfrm>
            <a:off x="3572437" y="2828043"/>
            <a:ext cx="118782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1E866CE4-AFE8-4516-96DE-DECC60FDF8A9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92E9BE1B-7FE9-405F-AC51-44A9F0C8BA4F}"/>
              </a:ext>
            </a:extLst>
          </p:cNvPr>
          <p:cNvCxnSpPr>
            <a:cxnSpLocks/>
          </p:cNvCxnSpPr>
          <p:nvPr/>
        </p:nvCxnSpPr>
        <p:spPr>
          <a:xfrm>
            <a:off x="2316994" y="4834959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30B9744B-74F3-4B39-BA9F-C25D5EA35B0F}"/>
              </a:ext>
            </a:extLst>
          </p:cNvPr>
          <p:cNvGrpSpPr/>
          <p:nvPr/>
        </p:nvGrpSpPr>
        <p:grpSpPr>
          <a:xfrm>
            <a:off x="2953700" y="4519140"/>
            <a:ext cx="485337" cy="487453"/>
            <a:chOff x="5279190" y="5401430"/>
            <a:chExt cx="1101836" cy="1106637"/>
          </a:xfrm>
        </p:grpSpPr>
        <p:sp>
          <p:nvSpPr>
            <p:cNvPr id="131" name="Freeform: Shape 815">
              <a:extLst>
                <a:ext uri="{FF2B5EF4-FFF2-40B4-BE49-F238E27FC236}">
                  <a16:creationId xmlns:a16="http://schemas.microsoft.com/office/drawing/2014/main" id="{C7558B1D-662E-4C2E-9008-ED7E83B1A023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2" name="Freeform: Shape 816">
              <a:extLst>
                <a:ext uri="{FF2B5EF4-FFF2-40B4-BE49-F238E27FC236}">
                  <a16:creationId xmlns:a16="http://schemas.microsoft.com/office/drawing/2014/main" id="{226F6D33-D617-47CD-9FB8-C54B990F5DF4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3" name="Freeform: Shape 817">
              <a:extLst>
                <a:ext uri="{FF2B5EF4-FFF2-40B4-BE49-F238E27FC236}">
                  <a16:creationId xmlns:a16="http://schemas.microsoft.com/office/drawing/2014/main" id="{DA8B0BA8-3124-46B6-B3B1-C205D4E266B7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4" name="Freeform: Shape 818">
              <a:extLst>
                <a:ext uri="{FF2B5EF4-FFF2-40B4-BE49-F238E27FC236}">
                  <a16:creationId xmlns:a16="http://schemas.microsoft.com/office/drawing/2014/main" id="{A21E33E8-CC8C-425F-BB1B-9091F9DBF3E5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135" name="Freeform: Shape 819">
              <a:extLst>
                <a:ext uri="{FF2B5EF4-FFF2-40B4-BE49-F238E27FC236}">
                  <a16:creationId xmlns:a16="http://schemas.microsoft.com/office/drawing/2014/main" id="{006786E7-F453-45FD-B86E-06BC07290116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6" name="Shape 101">
            <a:extLst>
              <a:ext uri="{FF2B5EF4-FFF2-40B4-BE49-F238E27FC236}">
                <a16:creationId xmlns:a16="http://schemas.microsoft.com/office/drawing/2014/main" id="{004EB5FA-7291-4C98-A605-4F50B848EAA4}"/>
              </a:ext>
            </a:extLst>
          </p:cNvPr>
          <p:cNvSpPr txBox="1"/>
          <p:nvPr/>
        </p:nvSpPr>
        <p:spPr>
          <a:xfrm>
            <a:off x="10615278" y="4609681"/>
            <a:ext cx="1516015" cy="415458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  <a:sym typeface="Calibri"/>
              </a:rPr>
              <a:t>Analytical dashboard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sym typeface="Calibri"/>
              </a:rPr>
              <a:t>(PowerBI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  <a:sym typeface="Calibri"/>
            </a:endParaRP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880C3AB9-0446-4587-B7B9-12720B588227}"/>
              </a:ext>
            </a:extLst>
          </p:cNvPr>
          <p:cNvGrpSpPr/>
          <p:nvPr/>
        </p:nvGrpSpPr>
        <p:grpSpPr>
          <a:xfrm>
            <a:off x="10934103" y="3893342"/>
            <a:ext cx="669375" cy="526560"/>
            <a:chOff x="10725498" y="5087603"/>
            <a:chExt cx="498940" cy="424437"/>
          </a:xfrm>
        </p:grpSpPr>
        <p:sp>
          <p:nvSpPr>
            <p:cNvPr id="138" name="graph_2">
              <a:extLst>
                <a:ext uri="{FF2B5EF4-FFF2-40B4-BE49-F238E27FC236}">
                  <a16:creationId xmlns:a16="http://schemas.microsoft.com/office/drawing/2014/main" id="{7F48245E-E6BB-4410-9B95-1E0BC99720B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40B6CDEA-FD9C-4EBB-BB06-C18B3AAA5227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140" name="Rectangle 9">
                <a:extLst>
                  <a:ext uri="{FF2B5EF4-FFF2-40B4-BE49-F238E27FC236}">
                    <a16:creationId xmlns:a16="http://schemas.microsoft.com/office/drawing/2014/main" id="{4AED2A3C-624E-4C90-A564-E86871A656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Line 10">
                <a:extLst>
                  <a:ext uri="{FF2B5EF4-FFF2-40B4-BE49-F238E27FC236}">
                    <a16:creationId xmlns:a16="http://schemas.microsoft.com/office/drawing/2014/main" id="{E4F5F3A3-1D90-42A7-BF19-EE2F9B1853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Oval 11">
                <a:extLst>
                  <a:ext uri="{FF2B5EF4-FFF2-40B4-BE49-F238E27FC236}">
                    <a16:creationId xmlns:a16="http://schemas.microsoft.com/office/drawing/2014/main" id="{7E2BDA1D-B4E0-48F2-87EC-BD6F8275D0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Oval 12">
                <a:extLst>
                  <a:ext uri="{FF2B5EF4-FFF2-40B4-BE49-F238E27FC236}">
                    <a16:creationId xmlns:a16="http://schemas.microsoft.com/office/drawing/2014/main" id="{9C601DB5-7749-4B85-8116-1C2D1F139F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Oval 13">
                <a:extLst>
                  <a:ext uri="{FF2B5EF4-FFF2-40B4-BE49-F238E27FC236}">
                    <a16:creationId xmlns:a16="http://schemas.microsoft.com/office/drawing/2014/main" id="{693A2D0E-294B-4693-AD09-F98A1752BA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5921ABC7-25F2-4EC9-AB5F-FD96E1AEF161}"/>
              </a:ext>
            </a:extLst>
          </p:cNvPr>
          <p:cNvGrpSpPr/>
          <p:nvPr/>
        </p:nvGrpSpPr>
        <p:grpSpPr>
          <a:xfrm>
            <a:off x="6919439" y="2616558"/>
            <a:ext cx="595274" cy="485668"/>
            <a:chOff x="5818113" y="2550840"/>
            <a:chExt cx="529278" cy="431824"/>
          </a:xfrm>
        </p:grpSpPr>
        <p:sp>
          <p:nvSpPr>
            <p:cNvPr id="146" name="Diamond 145">
              <a:extLst>
                <a:ext uri="{FF2B5EF4-FFF2-40B4-BE49-F238E27FC236}">
                  <a16:creationId xmlns:a16="http://schemas.microsoft.com/office/drawing/2014/main" id="{2E18305E-8E76-4BB5-8B05-EC883DD53835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BB7D90DB-A3C0-492B-9DAE-DADC06AEBC71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322D909-A987-481C-A670-8B8109A14404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BE031A7-9B6F-4C69-A610-A826DFDEDAB1}"/>
              </a:ext>
            </a:extLst>
          </p:cNvPr>
          <p:cNvSpPr/>
          <p:nvPr/>
        </p:nvSpPr>
        <p:spPr bwMode="auto">
          <a:xfrm>
            <a:off x="8616021" y="1749131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24CEDF74-995A-419B-AD6E-898F27AB723F}"/>
              </a:ext>
            </a:extLst>
          </p:cNvPr>
          <p:cNvSpPr/>
          <p:nvPr/>
        </p:nvSpPr>
        <p:spPr bwMode="auto">
          <a:xfrm>
            <a:off x="6608998" y="1749131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CF3C995-2C79-43BE-959A-DDA9F5282E4A}"/>
              </a:ext>
            </a:extLst>
          </p:cNvPr>
          <p:cNvSpPr/>
          <p:nvPr/>
        </p:nvSpPr>
        <p:spPr bwMode="auto">
          <a:xfrm>
            <a:off x="4564817" y="1749131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2AA7F8EA-3F10-4BFA-90C2-7EF58FF24FF1}"/>
              </a:ext>
            </a:extLst>
          </p:cNvPr>
          <p:cNvSpPr/>
          <p:nvPr/>
        </p:nvSpPr>
        <p:spPr bwMode="auto">
          <a:xfrm>
            <a:off x="2609300" y="1749131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153" name="Connector: Elbow 152">
            <a:extLst>
              <a:ext uri="{FF2B5EF4-FFF2-40B4-BE49-F238E27FC236}">
                <a16:creationId xmlns:a16="http://schemas.microsoft.com/office/drawing/2014/main" id="{847535EE-AF1B-41B6-BD64-0C75DCD84CC5}"/>
              </a:ext>
            </a:extLst>
          </p:cNvPr>
          <p:cNvCxnSpPr>
            <a:cxnSpLocks/>
            <a:stCxn id="70" idx="2"/>
          </p:cNvCxnSpPr>
          <p:nvPr/>
        </p:nvCxnSpPr>
        <p:spPr>
          <a:xfrm rot="16200000" flipH="1">
            <a:off x="7519732" y="3229948"/>
            <a:ext cx="988632" cy="1593944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tangle 153">
            <a:extLst>
              <a:ext uri="{FF2B5EF4-FFF2-40B4-BE49-F238E27FC236}">
                <a16:creationId xmlns:a16="http://schemas.microsoft.com/office/drawing/2014/main" id="{27263E0B-BAB5-4716-B734-4770D7A046A6}"/>
              </a:ext>
            </a:extLst>
          </p:cNvPr>
          <p:cNvSpPr/>
          <p:nvPr/>
        </p:nvSpPr>
        <p:spPr bwMode="auto">
          <a:xfrm>
            <a:off x="10420291" y="1770094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sp>
        <p:nvSpPr>
          <p:cNvPr id="155" name="Title 1">
            <a:extLst>
              <a:ext uri="{FF2B5EF4-FFF2-40B4-BE49-F238E27FC236}">
                <a16:creationId xmlns:a16="http://schemas.microsoft.com/office/drawing/2014/main" id="{6F093A3C-EB5E-4FDD-BD6D-1529F9DA5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553998"/>
          </a:xfrm>
        </p:spPr>
        <p:txBody>
          <a:bodyPr vert="horz" wrap="square" lIns="146304" tIns="91440" rIns="146304" bIns="91440" rtlCol="0" anchor="t">
            <a:noAutofit/>
          </a:bodyPr>
          <a:lstStyle/>
          <a:p>
            <a:pPr defTabSz="914400">
              <a:lnSpc>
                <a:spcPct val="100000"/>
              </a:lnSpc>
            </a:pPr>
            <a:r>
              <a:rPr lang="en-US" sz="2800" cap="all" spc="500" dirty="0">
                <a:solidFill>
                  <a:srgbClr val="0078D7"/>
                </a:solidFill>
                <a:latin typeface="Segoe UI Semilight" charset="0"/>
                <a:cs typeface="Segoe UI Semilight" charset="0"/>
              </a:rPr>
              <a:t>Data Engineering - Modern DW for BI</a:t>
            </a:r>
          </a:p>
        </p:txBody>
      </p:sp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4068" y="5779683"/>
            <a:ext cx="11183404" cy="889224"/>
          </a:xfrm>
          <a:prstGeom prst="leftRightArrow">
            <a:avLst/>
          </a:prstGeom>
          <a:solidFill>
            <a:srgbClr val="00B0F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endParaRPr lang="en-US" sz="1765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574936" y="5900686"/>
            <a:ext cx="10913173" cy="504259"/>
          </a:xfrm>
          <a:prstGeom prst="rect">
            <a:avLst/>
          </a:prstGeom>
          <a:noFill/>
        </p:spPr>
        <p:txBody>
          <a:bodyPr wrap="square" lIns="274281" tIns="182854" rIns="182854" rtlCol="0">
            <a:spAutoFit/>
          </a:bodyPr>
          <a:lstStyle/>
          <a:p>
            <a:pPr defTabSz="914367">
              <a:defRPr/>
            </a:pPr>
            <a:r>
              <a:rPr lang="en-US" b="1" dirty="0">
                <a:solidFill>
                  <a:srgbClr val="FFC000"/>
                </a:solidFill>
                <a:latin typeface="Segoe UI"/>
              </a:rPr>
              <a:t>AZURE DATA FACTORY </a:t>
            </a:r>
            <a:r>
              <a:rPr lang="en-US" b="1" dirty="0">
                <a:solidFill>
                  <a:srgbClr val="002050"/>
                </a:solidFill>
                <a:latin typeface="Segoe UI"/>
              </a:rPr>
              <a:t>ORCHESTRATES DATA PIPELINE ACTIVITY WORKFLOW &amp; SCHEDUL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341F7D-5575-48DB-A382-40F3F5BEA8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77608" y="3511629"/>
            <a:ext cx="695422" cy="528711"/>
          </a:xfrm>
          <a:prstGeom prst="rect">
            <a:avLst/>
          </a:prstGeom>
        </p:spPr>
      </p:pic>
      <p:sp>
        <p:nvSpPr>
          <p:cNvPr id="156" name="Rectangle 155">
            <a:extLst>
              <a:ext uri="{FF2B5EF4-FFF2-40B4-BE49-F238E27FC236}">
                <a16:creationId xmlns:a16="http://schemas.microsoft.com/office/drawing/2014/main" id="{2317B2C4-D610-4DC8-8FB6-A775EC7F7B20}"/>
              </a:ext>
            </a:extLst>
          </p:cNvPr>
          <p:cNvSpPr/>
          <p:nvPr/>
        </p:nvSpPr>
        <p:spPr>
          <a:xfrm>
            <a:off x="8459952" y="4069120"/>
            <a:ext cx="192912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Analysi</a:t>
            </a: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 Service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160" name="Picture 159">
            <a:extLst>
              <a:ext uri="{FF2B5EF4-FFF2-40B4-BE49-F238E27FC236}">
                <a16:creationId xmlns:a16="http://schemas.microsoft.com/office/drawing/2014/main" id="{C7F05692-EB3A-4477-B4B0-CA8C5661BF77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50000"/>
          </a:blip>
          <a:stretch>
            <a:fillRect/>
          </a:stretch>
        </p:blipFill>
        <p:spPr>
          <a:xfrm>
            <a:off x="291567" y="3130285"/>
            <a:ext cx="674300" cy="835851"/>
          </a:xfrm>
          <a:prstGeom prst="rect">
            <a:avLst/>
          </a:prstGeom>
        </p:spPr>
      </p:pic>
      <p:sp>
        <p:nvSpPr>
          <p:cNvPr id="162" name="TextBox 161">
            <a:extLst>
              <a:ext uri="{FF2B5EF4-FFF2-40B4-BE49-F238E27FC236}">
                <a16:creationId xmlns:a16="http://schemas.microsoft.com/office/drawing/2014/main" id="{BC33C316-6887-4EBA-AB85-6B48B98A2991}"/>
              </a:ext>
            </a:extLst>
          </p:cNvPr>
          <p:cNvSpPr txBox="1"/>
          <p:nvPr/>
        </p:nvSpPr>
        <p:spPr>
          <a:xfrm>
            <a:off x="186918" y="4020914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n Prem, Cloud 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s &amp; Data</a:t>
            </a:r>
          </a:p>
        </p:txBody>
      </p:sp>
      <p:sp>
        <p:nvSpPr>
          <p:cNvPr id="161" name="Freeform 5">
            <a:extLst>
              <a:ext uri="{FF2B5EF4-FFF2-40B4-BE49-F238E27FC236}">
                <a16:creationId xmlns:a16="http://schemas.microsoft.com/office/drawing/2014/main" id="{51DAF2F1-4B2A-4E3A-91C8-90E93BBF7E57}"/>
              </a:ext>
            </a:extLst>
          </p:cNvPr>
          <p:cNvSpPr>
            <a:spLocks noChangeAspect="1"/>
          </p:cNvSpPr>
          <p:nvPr/>
        </p:nvSpPr>
        <p:spPr bwMode="black">
          <a:xfrm>
            <a:off x="1051049" y="3582349"/>
            <a:ext cx="600583" cy="330255"/>
          </a:xfrm>
          <a:custGeom>
            <a:avLst/>
            <a:gdLst>
              <a:gd name="T0" fmla="*/ 1942 w 2359"/>
              <a:gd name="T1" fmla="*/ 1394 h 1394"/>
              <a:gd name="T2" fmla="*/ 416 w 2359"/>
              <a:gd name="T3" fmla="*/ 1394 h 1394"/>
              <a:gd name="T4" fmla="*/ 0 w 2359"/>
              <a:gd name="T5" fmla="*/ 971 h 1394"/>
              <a:gd name="T6" fmla="*/ 416 w 2359"/>
              <a:gd name="T7" fmla="*/ 552 h 1394"/>
              <a:gd name="T8" fmla="*/ 517 w 2359"/>
              <a:gd name="T9" fmla="*/ 565 h 1394"/>
              <a:gd name="T10" fmla="*/ 925 w 2359"/>
              <a:gd name="T11" fmla="*/ 221 h 1394"/>
              <a:gd name="T12" fmla="*/ 1175 w 2359"/>
              <a:gd name="T13" fmla="*/ 305 h 1394"/>
              <a:gd name="T14" fmla="*/ 1578 w 2359"/>
              <a:gd name="T15" fmla="*/ 0 h 1394"/>
              <a:gd name="T16" fmla="*/ 1982 w 2359"/>
              <a:gd name="T17" fmla="*/ 424 h 1394"/>
              <a:gd name="T18" fmla="*/ 1968 w 2359"/>
              <a:gd name="T19" fmla="*/ 552 h 1394"/>
              <a:gd name="T20" fmla="*/ 2359 w 2359"/>
              <a:gd name="T21" fmla="*/ 971 h 1394"/>
              <a:gd name="T22" fmla="*/ 1942 w 2359"/>
              <a:gd name="T23" fmla="*/ 1394 h 1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59" h="1394">
                <a:moveTo>
                  <a:pt x="1942" y="1394"/>
                </a:moveTo>
                <a:cubicBezTo>
                  <a:pt x="416" y="1394"/>
                  <a:pt x="416" y="1394"/>
                  <a:pt x="416" y="1394"/>
                </a:cubicBezTo>
                <a:cubicBezTo>
                  <a:pt x="193" y="1394"/>
                  <a:pt x="0" y="1200"/>
                  <a:pt x="0" y="971"/>
                </a:cubicBezTo>
                <a:cubicBezTo>
                  <a:pt x="0" y="741"/>
                  <a:pt x="193" y="552"/>
                  <a:pt x="416" y="552"/>
                </a:cubicBezTo>
                <a:cubicBezTo>
                  <a:pt x="451" y="552"/>
                  <a:pt x="487" y="556"/>
                  <a:pt x="517" y="565"/>
                </a:cubicBezTo>
                <a:cubicBezTo>
                  <a:pt x="552" y="362"/>
                  <a:pt x="719" y="221"/>
                  <a:pt x="925" y="221"/>
                </a:cubicBezTo>
                <a:cubicBezTo>
                  <a:pt x="1021" y="221"/>
                  <a:pt x="1105" y="247"/>
                  <a:pt x="1175" y="305"/>
                </a:cubicBezTo>
                <a:cubicBezTo>
                  <a:pt x="1227" y="128"/>
                  <a:pt x="1394" y="0"/>
                  <a:pt x="1578" y="0"/>
                </a:cubicBezTo>
                <a:cubicBezTo>
                  <a:pt x="1802" y="0"/>
                  <a:pt x="1982" y="190"/>
                  <a:pt x="1982" y="424"/>
                </a:cubicBezTo>
                <a:cubicBezTo>
                  <a:pt x="1982" y="468"/>
                  <a:pt x="1977" y="512"/>
                  <a:pt x="1968" y="552"/>
                </a:cubicBezTo>
                <a:cubicBezTo>
                  <a:pt x="2188" y="565"/>
                  <a:pt x="2359" y="750"/>
                  <a:pt x="2359" y="971"/>
                </a:cubicBezTo>
                <a:cubicBezTo>
                  <a:pt x="2359" y="1205"/>
                  <a:pt x="2170" y="1394"/>
                  <a:pt x="1942" y="139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121870" tIns="60935" rIns="121870" bIns="6093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092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1736C94A-D805-4578-8C47-EE3F60CF45DC}"/>
              </a:ext>
            </a:extLst>
          </p:cNvPr>
          <p:cNvCxnSpPr>
            <a:cxnSpLocks/>
          </p:cNvCxnSpPr>
          <p:nvPr/>
        </p:nvCxnSpPr>
        <p:spPr>
          <a:xfrm>
            <a:off x="9923284" y="4026920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486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ight Bracket 40">
            <a:extLst>
              <a:ext uri="{FF2B5EF4-FFF2-40B4-BE49-F238E27FC236}">
                <a16:creationId xmlns:a16="http://schemas.microsoft.com/office/drawing/2014/main" id="{4873D825-93E2-47F3-96FB-E6C4EE7610B3}"/>
              </a:ext>
            </a:extLst>
          </p:cNvPr>
          <p:cNvSpPr/>
          <p:nvPr/>
        </p:nvSpPr>
        <p:spPr>
          <a:xfrm>
            <a:off x="2215617" y="2358243"/>
            <a:ext cx="100766" cy="2681121"/>
          </a:xfrm>
          <a:prstGeom prst="rightBracke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D135903-648C-4C38-9454-98816554D262}"/>
              </a:ext>
            </a:extLst>
          </p:cNvPr>
          <p:cNvSpPr txBox="1"/>
          <p:nvPr/>
        </p:nvSpPr>
        <p:spPr>
          <a:xfrm>
            <a:off x="311881" y="5085539"/>
            <a:ext cx="1632135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Business / custom app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tructured)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221D44A-2707-4585-B2EE-005FAFFFB169}"/>
              </a:ext>
            </a:extLst>
          </p:cNvPr>
          <p:cNvSpPr txBox="1"/>
          <p:nvPr/>
        </p:nvSpPr>
        <p:spPr>
          <a:xfrm>
            <a:off x="308035" y="2531672"/>
            <a:ext cx="1475072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5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gs, files and media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unstructured)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7A8E4E85-7FB5-4817-B369-410D86C755D4}"/>
              </a:ext>
            </a:extLst>
          </p:cNvPr>
          <p:cNvCxnSpPr>
            <a:cxnSpLocks/>
          </p:cNvCxnSpPr>
          <p:nvPr/>
        </p:nvCxnSpPr>
        <p:spPr>
          <a:xfrm flipV="1">
            <a:off x="4969710" y="2825544"/>
            <a:ext cx="1796787" cy="1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68D1009-4307-466B-8F17-4E80DEE5EB6E}"/>
              </a:ext>
            </a:extLst>
          </p:cNvPr>
          <p:cNvCxnSpPr>
            <a:cxnSpLocks/>
          </p:cNvCxnSpPr>
          <p:nvPr/>
        </p:nvCxnSpPr>
        <p:spPr>
          <a:xfrm>
            <a:off x="9922847" y="5387437"/>
            <a:ext cx="717007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F6BB1982-13BC-4712-AC3D-76B290C29D45}"/>
              </a:ext>
            </a:extLst>
          </p:cNvPr>
          <p:cNvSpPr/>
          <p:nvPr/>
        </p:nvSpPr>
        <p:spPr>
          <a:xfrm>
            <a:off x="4004484" y="3117106"/>
            <a:ext cx="1096619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storag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81C7110-85F1-45E4-A97C-B354462E0C3F}"/>
              </a:ext>
            </a:extLst>
          </p:cNvPr>
          <p:cNvSpPr/>
          <p:nvPr/>
        </p:nvSpPr>
        <p:spPr>
          <a:xfrm>
            <a:off x="4236522" y="4824558"/>
            <a:ext cx="733188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lybas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D9DFE0C-95FA-425B-B41B-1499A18FB1DD}"/>
              </a:ext>
            </a:extLst>
          </p:cNvPr>
          <p:cNvSpPr/>
          <p:nvPr/>
        </p:nvSpPr>
        <p:spPr>
          <a:xfrm>
            <a:off x="2672827" y="311710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460515A-A536-4B1B-AE1B-F7082BCF84D2}"/>
              </a:ext>
            </a:extLst>
          </p:cNvPr>
          <p:cNvSpPr/>
          <p:nvPr/>
        </p:nvSpPr>
        <p:spPr>
          <a:xfrm>
            <a:off x="2667836" y="4965229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factory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71947B4-BBCF-441C-AF5B-C6AEC3B795B7}"/>
              </a:ext>
            </a:extLst>
          </p:cNvPr>
          <p:cNvSpPr/>
          <p:nvPr/>
        </p:nvSpPr>
        <p:spPr>
          <a:xfrm>
            <a:off x="6502777" y="2923465"/>
            <a:ext cx="1428598" cy="41549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zure Databricks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(Spark)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79C5A03-58F6-442B-ACD6-049453FCB69F}"/>
              </a:ext>
            </a:extLst>
          </p:cNvPr>
          <p:cNvGrpSpPr/>
          <p:nvPr/>
        </p:nvGrpSpPr>
        <p:grpSpPr>
          <a:xfrm>
            <a:off x="574936" y="4586070"/>
            <a:ext cx="1064771" cy="406286"/>
            <a:chOff x="579957" y="1614888"/>
            <a:chExt cx="1064771" cy="406286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36B4970-CDBF-4F46-B5CD-3D897015DC21}"/>
                </a:ext>
              </a:extLst>
            </p:cNvPr>
            <p:cNvGrpSpPr/>
            <p:nvPr/>
          </p:nvGrpSpPr>
          <p:grpSpPr>
            <a:xfrm>
              <a:off x="1174991" y="1632049"/>
              <a:ext cx="469737" cy="385154"/>
              <a:chOff x="1778647" y="1301093"/>
              <a:chExt cx="307813" cy="252387"/>
            </a:xfrm>
            <a:noFill/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B5F94B8A-328F-4744-B000-302C1B7849DD}"/>
                  </a:ext>
                </a:extLst>
              </p:cNvPr>
              <p:cNvGrpSpPr/>
              <p:nvPr/>
            </p:nvGrpSpPr>
            <p:grpSpPr>
              <a:xfrm>
                <a:off x="1778647" y="1301093"/>
                <a:ext cx="307813" cy="252387"/>
                <a:chOff x="2107086" y="1452805"/>
                <a:chExt cx="307813" cy="252387"/>
              </a:xfrm>
              <a:grpFill/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697A6FA7-07CA-41D2-8CA8-8D08B28ECE76}"/>
                    </a:ext>
                  </a:extLst>
                </p:cNvPr>
                <p:cNvSpPr/>
                <p:nvPr/>
              </p:nvSpPr>
              <p:spPr bwMode="auto">
                <a:xfrm>
                  <a:off x="2107086" y="1596776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D187904E-9C82-4B0D-AB0F-F68F5A1C0A04}"/>
                    </a:ext>
                  </a:extLst>
                </p:cNvPr>
                <p:cNvSpPr/>
                <p:nvPr/>
              </p:nvSpPr>
              <p:spPr bwMode="auto">
                <a:xfrm>
                  <a:off x="2252041" y="1452805"/>
                  <a:ext cx="162858" cy="162858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0E24DF1A-F7A2-4DE0-81FC-A364F46A80EB}"/>
                    </a:ext>
                  </a:extLst>
                </p:cNvPr>
                <p:cNvSpPr/>
                <p:nvPr/>
              </p:nvSpPr>
              <p:spPr bwMode="auto">
                <a:xfrm>
                  <a:off x="2107086" y="1453330"/>
                  <a:ext cx="108416" cy="108416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id="{91A96525-2150-4BAE-A12C-90F6A5645A05}"/>
                    </a:ext>
                  </a:extLst>
                </p:cNvPr>
                <p:cNvSpPr/>
                <p:nvPr/>
              </p:nvSpPr>
              <p:spPr bwMode="auto">
                <a:xfrm>
                  <a:off x="2253489" y="1652588"/>
                  <a:ext cx="159337" cy="51699"/>
                </a:xfrm>
                <a:prstGeom prst="rect">
                  <a:avLst/>
                </a:prstGeom>
                <a:grpFill/>
                <a:ln w="12700" cap="flat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9630" tIns="44814" rIns="89630" bIns="4481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962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27F6A258-3ABD-42AD-894B-EB3234DC5DEC}"/>
                  </a:ext>
                </a:extLst>
              </p:cNvPr>
              <p:cNvCxnSpPr/>
              <p:nvPr/>
            </p:nvCxnSpPr>
            <p:spPr>
              <a:xfrm>
                <a:off x="1979319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E4356E23-53CE-4B6E-9B40-9553D408A8E1}"/>
                  </a:ext>
                </a:extLst>
              </p:cNvPr>
              <p:cNvCxnSpPr/>
              <p:nvPr/>
            </p:nvCxnSpPr>
            <p:spPr>
              <a:xfrm>
                <a:off x="2031707" y="1500876"/>
                <a:ext cx="0" cy="51699"/>
              </a:xfrm>
              <a:prstGeom prst="line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BE6CA097-4853-4DB1-93C5-6B9D23DAA86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9957" y="1614888"/>
              <a:ext cx="416196" cy="406286"/>
              <a:chOff x="1759" y="236"/>
              <a:chExt cx="252" cy="246"/>
            </a:xfrm>
            <a:noFill/>
          </p:grpSpPr>
          <p:sp>
            <p:nvSpPr>
              <p:cNvPr id="74" name="Freeform 106">
                <a:extLst>
                  <a:ext uri="{FF2B5EF4-FFF2-40B4-BE49-F238E27FC236}">
                    <a16:creationId xmlns:a16="http://schemas.microsoft.com/office/drawing/2014/main" id="{7FBC81FF-747C-4D82-9AC4-FB02D5613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067FE61-E6AB-4347-98EC-F3FE5D30AF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23C4EFF-6AB9-4BD0-87C6-8DF803E98D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A1F0ADFA-2CF3-4ADB-B7FA-17B7DFF532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11" tIns="36206" rIns="72411" bIns="3620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960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0ADD494C-2790-4063-8BD3-F244F4643682}"/>
              </a:ext>
            </a:extLst>
          </p:cNvPr>
          <p:cNvGrpSpPr/>
          <p:nvPr/>
        </p:nvGrpSpPr>
        <p:grpSpPr>
          <a:xfrm>
            <a:off x="511757" y="2106315"/>
            <a:ext cx="1167152" cy="348720"/>
            <a:chOff x="1555307" y="5853300"/>
            <a:chExt cx="1271350" cy="379852"/>
          </a:xfrm>
        </p:grpSpPr>
        <p:grpSp>
          <p:nvGrpSpPr>
            <p:cNvPr id="86" name="Group 4">
              <a:extLst>
                <a:ext uri="{FF2B5EF4-FFF2-40B4-BE49-F238E27FC236}">
                  <a16:creationId xmlns:a16="http://schemas.microsoft.com/office/drawing/2014/main" id="{F5030523-C20B-4BB4-B983-D735A39E6CA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55307" y="5853300"/>
              <a:ext cx="259568" cy="379852"/>
              <a:chOff x="3526" y="3353"/>
              <a:chExt cx="164" cy="240"/>
            </a:xfrm>
          </p:grpSpPr>
          <p:sp>
            <p:nvSpPr>
              <p:cNvPr id="98" name="Freeform 5">
                <a:extLst>
                  <a:ext uri="{FF2B5EF4-FFF2-40B4-BE49-F238E27FC236}">
                    <a16:creationId xmlns:a16="http://schemas.microsoft.com/office/drawing/2014/main" id="{42F045D9-F1E6-4060-AF17-85DD76BC2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6" y="3353"/>
                <a:ext cx="164" cy="215"/>
              </a:xfrm>
              <a:custGeom>
                <a:avLst/>
                <a:gdLst>
                  <a:gd name="T0" fmla="*/ 204 w 226"/>
                  <a:gd name="T1" fmla="*/ 289 h 296"/>
                  <a:gd name="T2" fmla="*/ 226 w 226"/>
                  <a:gd name="T3" fmla="*/ 296 h 296"/>
                  <a:gd name="T4" fmla="*/ 226 w 226"/>
                  <a:gd name="T5" fmla="*/ 55 h 296"/>
                  <a:gd name="T6" fmla="*/ 39 w 226"/>
                  <a:gd name="T7" fmla="*/ 0 h 296"/>
                  <a:gd name="T8" fmla="*/ 0 w 226"/>
                  <a:gd name="T9" fmla="*/ 3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6" h="296">
                    <a:moveTo>
                      <a:pt x="204" y="289"/>
                    </a:moveTo>
                    <a:cubicBezTo>
                      <a:pt x="226" y="296"/>
                      <a:pt x="226" y="296"/>
                      <a:pt x="226" y="296"/>
                    </a:cubicBezTo>
                    <a:cubicBezTo>
                      <a:pt x="226" y="55"/>
                      <a:pt x="226" y="55"/>
                      <a:pt x="226" y="5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12" y="0"/>
                      <a:pt x="0" y="34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99" name="Freeform 6">
                <a:extLst>
                  <a:ext uri="{FF2B5EF4-FFF2-40B4-BE49-F238E27FC236}">
                    <a16:creationId xmlns:a16="http://schemas.microsoft.com/office/drawing/2014/main" id="{416F93BB-001B-4D8D-AE3E-EB7CF29E1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3370"/>
                <a:ext cx="120" cy="211"/>
              </a:xfrm>
              <a:custGeom>
                <a:avLst/>
                <a:gdLst>
                  <a:gd name="T0" fmla="*/ 0 w 120"/>
                  <a:gd name="T1" fmla="*/ 0 h 211"/>
                  <a:gd name="T2" fmla="*/ 120 w 120"/>
                  <a:gd name="T3" fmla="*/ 37 h 211"/>
                  <a:gd name="T4" fmla="*/ 120 w 120"/>
                  <a:gd name="T5" fmla="*/ 211 h 211"/>
                  <a:gd name="T6" fmla="*/ 104 w 120"/>
                  <a:gd name="T7" fmla="*/ 20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1">
                    <a:moveTo>
                      <a:pt x="0" y="0"/>
                    </a:moveTo>
                    <a:lnTo>
                      <a:pt x="120" y="37"/>
                    </a:lnTo>
                    <a:lnTo>
                      <a:pt x="120" y="211"/>
                    </a:lnTo>
                    <a:lnTo>
                      <a:pt x="104" y="206"/>
                    </a:ln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00" name="Freeform 7">
                <a:extLst>
                  <a:ext uri="{FF2B5EF4-FFF2-40B4-BE49-F238E27FC236}">
                    <a16:creationId xmlns:a16="http://schemas.microsoft.com/office/drawing/2014/main" id="{890F743C-3CF0-43A7-8DB9-2992FD8C1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7" y="3382"/>
                <a:ext cx="131" cy="211"/>
              </a:xfrm>
              <a:custGeom>
                <a:avLst/>
                <a:gdLst>
                  <a:gd name="T0" fmla="*/ 131 w 131"/>
                  <a:gd name="T1" fmla="*/ 38 h 211"/>
                  <a:gd name="T2" fmla="*/ 131 w 131"/>
                  <a:gd name="T3" fmla="*/ 211 h 211"/>
                  <a:gd name="T4" fmla="*/ 0 w 131"/>
                  <a:gd name="T5" fmla="*/ 173 h 211"/>
                  <a:gd name="T6" fmla="*/ 0 w 131"/>
                  <a:gd name="T7" fmla="*/ 0 h 211"/>
                  <a:gd name="T8" fmla="*/ 131 w 131"/>
                  <a:gd name="T9" fmla="*/ 38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211">
                    <a:moveTo>
                      <a:pt x="131" y="38"/>
                    </a:moveTo>
                    <a:lnTo>
                      <a:pt x="131" y="21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131" y="38"/>
                    </a:lnTo>
                    <a:close/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0" tIns="45713" rIns="0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92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68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DDB466A7-F896-4AA8-948E-6A66650A1D6C}"/>
                </a:ext>
              </a:extLst>
            </p:cNvPr>
            <p:cNvGrpSpPr/>
            <p:nvPr/>
          </p:nvGrpSpPr>
          <p:grpSpPr>
            <a:xfrm>
              <a:off x="1984596" y="5863452"/>
              <a:ext cx="293717" cy="359549"/>
              <a:chOff x="965200" y="3436897"/>
              <a:chExt cx="528881" cy="647424"/>
            </a:xfrm>
          </p:grpSpPr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6B1B1902-72DD-4801-A919-52377CCB657B}"/>
                  </a:ext>
                </a:extLst>
              </p:cNvPr>
              <p:cNvGrpSpPr/>
              <p:nvPr/>
            </p:nvGrpSpPr>
            <p:grpSpPr>
              <a:xfrm flipH="1">
                <a:off x="965200" y="3436897"/>
                <a:ext cx="528881" cy="647424"/>
                <a:chOff x="3003960" y="3685414"/>
                <a:chExt cx="403310" cy="493707"/>
              </a:xfrm>
            </p:grpSpPr>
            <p:sp>
              <p:nvSpPr>
                <p:cNvPr id="96" name="Snip Single Corner Rectangle 26">
                  <a:extLst>
                    <a:ext uri="{FF2B5EF4-FFF2-40B4-BE49-F238E27FC236}">
                      <a16:creationId xmlns:a16="http://schemas.microsoft.com/office/drawing/2014/main" id="{A863CA91-C395-40F4-B8BB-25A4037A146E}"/>
                    </a:ext>
                  </a:extLst>
                </p:cNvPr>
                <p:cNvSpPr/>
                <p:nvPr/>
              </p:nvSpPr>
              <p:spPr bwMode="auto">
                <a:xfrm flipH="1">
                  <a:off x="3003960" y="3685414"/>
                  <a:ext cx="403310" cy="493707"/>
                </a:xfrm>
                <a:prstGeom prst="snip1Rect">
                  <a:avLst>
                    <a:gd name="adj" fmla="val 28736"/>
                  </a:avLst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97" name="Triangle 27">
                  <a:extLst>
                    <a:ext uri="{FF2B5EF4-FFF2-40B4-BE49-F238E27FC236}">
                      <a16:creationId xmlns:a16="http://schemas.microsoft.com/office/drawing/2014/main" id="{D4AB003D-5D08-4EB0-8F86-54C2147A68A2}"/>
                    </a:ext>
                  </a:extLst>
                </p:cNvPr>
                <p:cNvSpPr/>
                <p:nvPr/>
              </p:nvSpPr>
              <p:spPr bwMode="auto">
                <a:xfrm rot="8100000">
                  <a:off x="3012552" y="3733609"/>
                  <a:ext cx="160049" cy="80930"/>
                </a:xfrm>
                <a:prstGeom prst="triangle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3247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DB925629-2F2A-4E2B-A9D6-2D7A2A966E6D}"/>
                  </a:ext>
                </a:extLst>
              </p:cNvPr>
              <p:cNvCxnSpPr/>
              <p:nvPr/>
            </p:nvCxnSpPr>
            <p:spPr>
              <a:xfrm>
                <a:off x="1047750" y="3578225"/>
                <a:ext cx="2159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3AB728FB-8BD0-40D5-B9DC-425E9C3CCC9C}"/>
                  </a:ext>
                </a:extLst>
              </p:cNvPr>
              <p:cNvCxnSpPr/>
              <p:nvPr/>
            </p:nvCxnSpPr>
            <p:spPr>
              <a:xfrm>
                <a:off x="1047750" y="3697817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425C96B-A6E9-482C-9614-82D3C988FCFE}"/>
                  </a:ext>
                </a:extLst>
              </p:cNvPr>
              <p:cNvCxnSpPr/>
              <p:nvPr/>
            </p:nvCxnSpPr>
            <p:spPr>
              <a:xfrm>
                <a:off x="1047750" y="3817409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AD719FA0-32E9-44DA-820B-1BB43F276429}"/>
                  </a:ext>
                </a:extLst>
              </p:cNvPr>
              <p:cNvCxnSpPr/>
              <p:nvPr/>
            </p:nvCxnSpPr>
            <p:spPr>
              <a:xfrm>
                <a:off x="1047750" y="3937000"/>
                <a:ext cx="368300" cy="0"/>
              </a:xfrm>
              <a:prstGeom prst="line">
                <a:avLst/>
              </a:prstGeom>
              <a:ln w="12700" cap="rnd">
                <a:solidFill>
                  <a:schemeClr val="tx1"/>
                </a:solidFill>
                <a:miter lim="800000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5AE5CB4-D82C-4508-9E9E-BB0393F799FC}"/>
                </a:ext>
              </a:extLst>
            </p:cNvPr>
            <p:cNvGrpSpPr/>
            <p:nvPr/>
          </p:nvGrpSpPr>
          <p:grpSpPr>
            <a:xfrm>
              <a:off x="2448035" y="5853915"/>
              <a:ext cx="378622" cy="378622"/>
              <a:chOff x="1658620" y="1705294"/>
              <a:chExt cx="326376" cy="326376"/>
            </a:xfrm>
          </p:grpSpPr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B0B0BB4F-0F9E-4E56-A756-7BAA3DE28C59}"/>
                  </a:ext>
                </a:extLst>
              </p:cNvPr>
              <p:cNvSpPr/>
              <p:nvPr/>
            </p:nvSpPr>
            <p:spPr bwMode="auto">
              <a:xfrm>
                <a:off x="1658620" y="1705294"/>
                <a:ext cx="326376" cy="326376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0" name="Isosceles Triangle 89">
                <a:extLst>
                  <a:ext uri="{FF2B5EF4-FFF2-40B4-BE49-F238E27FC236}">
                    <a16:creationId xmlns:a16="http://schemas.microsoft.com/office/drawing/2014/main" id="{35DDAF83-23A1-4BC4-9342-7ACBD940EC31}"/>
                  </a:ext>
                </a:extLst>
              </p:cNvPr>
              <p:cNvSpPr/>
              <p:nvPr/>
            </p:nvSpPr>
            <p:spPr bwMode="auto">
              <a:xfrm rot="5400000">
                <a:off x="1759612" y="1802351"/>
                <a:ext cx="153423" cy="132260"/>
              </a:xfrm>
              <a:prstGeom prst="triangle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611846C2-D18F-463E-A182-BA22BBD7696B}"/>
              </a:ext>
            </a:extLst>
          </p:cNvPr>
          <p:cNvGrpSpPr/>
          <p:nvPr/>
        </p:nvGrpSpPr>
        <p:grpSpPr>
          <a:xfrm>
            <a:off x="4275680" y="2580933"/>
            <a:ext cx="554226" cy="494220"/>
            <a:chOff x="2488012" y="1320237"/>
            <a:chExt cx="4696415" cy="4187934"/>
          </a:xfrm>
        </p:grpSpPr>
        <p:sp>
          <p:nvSpPr>
            <p:cNvPr id="102" name="Hexagon 101">
              <a:extLst>
                <a:ext uri="{FF2B5EF4-FFF2-40B4-BE49-F238E27FC236}">
                  <a16:creationId xmlns:a16="http://schemas.microsoft.com/office/drawing/2014/main" id="{C1F08C9C-6DAD-4C56-A1E5-14FA7D588624}"/>
                </a:ext>
              </a:extLst>
            </p:cNvPr>
            <p:cNvSpPr/>
            <p:nvPr/>
          </p:nvSpPr>
          <p:spPr bwMode="auto">
            <a:xfrm>
              <a:off x="2488012" y="1320237"/>
              <a:ext cx="4696415" cy="4187934"/>
            </a:xfrm>
            <a:prstGeom prst="hexagon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3" name="Snip Single Corner Rectangle 26">
              <a:extLst>
                <a:ext uri="{FF2B5EF4-FFF2-40B4-BE49-F238E27FC236}">
                  <a16:creationId xmlns:a16="http://schemas.microsoft.com/office/drawing/2014/main" id="{2B14F4BF-6DC9-4A8E-A250-52E084231832}"/>
                </a:ext>
              </a:extLst>
            </p:cNvPr>
            <p:cNvSpPr/>
            <p:nvPr/>
          </p:nvSpPr>
          <p:spPr bwMode="auto">
            <a:xfrm>
              <a:off x="3677764" y="2189582"/>
              <a:ext cx="2316905" cy="2449244"/>
            </a:xfrm>
            <a:prstGeom prst="snip1Rect">
              <a:avLst>
                <a:gd name="adj" fmla="val 28736"/>
              </a:avLst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" rIns="0" bIns="9144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2291D89C-7211-4A5F-927E-40655700F13E}"/>
                </a:ext>
              </a:extLst>
            </p:cNvPr>
            <p:cNvGrpSpPr/>
            <p:nvPr/>
          </p:nvGrpSpPr>
          <p:grpSpPr>
            <a:xfrm>
              <a:off x="4271145" y="2716507"/>
              <a:ext cx="790235" cy="1472560"/>
              <a:chOff x="4917030" y="1019829"/>
              <a:chExt cx="123056" cy="229308"/>
            </a:xfrm>
          </p:grpSpPr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9EB6577-80F9-4A0D-8DB3-F738C8FCB9B2}"/>
                  </a:ext>
                </a:extLst>
              </p:cNvPr>
              <p:cNvSpPr/>
              <p:nvPr/>
            </p:nvSpPr>
            <p:spPr bwMode="auto">
              <a:xfrm>
                <a:off x="4981844" y="1019829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A59D14A1-59CA-4EF1-8EE5-8A2AC570EC19}"/>
                  </a:ext>
                </a:extLst>
              </p:cNvPr>
              <p:cNvSpPr/>
              <p:nvPr/>
            </p:nvSpPr>
            <p:spPr bwMode="auto">
              <a:xfrm>
                <a:off x="4929274" y="1019829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B89ABACF-A80E-4A0A-98E5-0D85956CC8BA}"/>
                  </a:ext>
                </a:extLst>
              </p:cNvPr>
              <p:cNvSpPr/>
              <p:nvPr/>
            </p:nvSpPr>
            <p:spPr bwMode="auto">
              <a:xfrm>
                <a:off x="4917030" y="1156660"/>
                <a:ext cx="58242" cy="92477"/>
              </a:xfrm>
              <a:custGeom>
                <a:avLst/>
                <a:gdLst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10939 w 60815"/>
                  <a:gd name="connsiteY15" fmla="*/ 49616 h 96562"/>
                  <a:gd name="connsiteX16" fmla="*/ 49876 w 60815"/>
                  <a:gd name="connsiteY16" fmla="*/ 48900 h 96562"/>
                  <a:gd name="connsiteX17" fmla="*/ 30929 w 60815"/>
                  <a:gd name="connsiteY17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  <a:gd name="connsiteX14" fmla="*/ 30929 w 60815"/>
                  <a:gd name="connsiteY14" fmla="*/ 9051 h 96562"/>
                  <a:gd name="connsiteX15" fmla="*/ 49876 w 60815"/>
                  <a:gd name="connsiteY15" fmla="*/ 48900 h 96562"/>
                  <a:gd name="connsiteX16" fmla="*/ 30929 w 60815"/>
                  <a:gd name="connsiteY16" fmla="*/ 9051 h 96562"/>
                  <a:gd name="connsiteX0" fmla="*/ 31450 w 60815"/>
                  <a:gd name="connsiteY0" fmla="*/ 0 h 96562"/>
                  <a:gd name="connsiteX1" fmla="*/ 60815 w 60815"/>
                  <a:gd name="connsiteY1" fmla="*/ 47858 h 96562"/>
                  <a:gd name="connsiteX2" fmla="*/ 58699 w 60815"/>
                  <a:gd name="connsiteY2" fmla="*/ 68629 h 96562"/>
                  <a:gd name="connsiteX3" fmla="*/ 52579 w 60815"/>
                  <a:gd name="connsiteY3" fmla="*/ 83898 h 96562"/>
                  <a:gd name="connsiteX4" fmla="*/ 42747 w 60815"/>
                  <a:gd name="connsiteY4" fmla="*/ 93339 h 96562"/>
                  <a:gd name="connsiteX5" fmla="*/ 29496 w 60815"/>
                  <a:gd name="connsiteY5" fmla="*/ 96562 h 96562"/>
                  <a:gd name="connsiteX6" fmla="*/ 16962 w 60815"/>
                  <a:gd name="connsiteY6" fmla="*/ 93469 h 96562"/>
                  <a:gd name="connsiteX7" fmla="*/ 7684 w 60815"/>
                  <a:gd name="connsiteY7" fmla="*/ 84451 h 96562"/>
                  <a:gd name="connsiteX8" fmla="*/ 1954 w 60815"/>
                  <a:gd name="connsiteY8" fmla="*/ 69898 h 96562"/>
                  <a:gd name="connsiteX9" fmla="*/ 0 w 60815"/>
                  <a:gd name="connsiteY9" fmla="*/ 50137 h 96562"/>
                  <a:gd name="connsiteX10" fmla="*/ 2051 w 60815"/>
                  <a:gd name="connsiteY10" fmla="*/ 28520 h 96562"/>
                  <a:gd name="connsiteX11" fmla="*/ 8074 w 60815"/>
                  <a:gd name="connsiteY11" fmla="*/ 12795 h 96562"/>
                  <a:gd name="connsiteX12" fmla="*/ 17939 w 60815"/>
                  <a:gd name="connsiteY12" fmla="*/ 3223 h 96562"/>
                  <a:gd name="connsiteX13" fmla="*/ 31450 w 60815"/>
                  <a:gd name="connsiteY13" fmla="*/ 0 h 96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815" h="96562">
                    <a:moveTo>
                      <a:pt x="31450" y="0"/>
                    </a:moveTo>
                    <a:cubicBezTo>
                      <a:pt x="51027" y="0"/>
                      <a:pt x="60815" y="15953"/>
                      <a:pt x="60815" y="47858"/>
                    </a:cubicBezTo>
                    <a:cubicBezTo>
                      <a:pt x="60815" y="55671"/>
                      <a:pt x="60110" y="62595"/>
                      <a:pt x="58699" y="68629"/>
                    </a:cubicBezTo>
                    <a:cubicBezTo>
                      <a:pt x="57288" y="74662"/>
                      <a:pt x="55248" y="79752"/>
                      <a:pt x="52579" y="83898"/>
                    </a:cubicBezTo>
                    <a:cubicBezTo>
                      <a:pt x="49909" y="88043"/>
                      <a:pt x="46632" y="91190"/>
                      <a:pt x="42747" y="93339"/>
                    </a:cubicBezTo>
                    <a:cubicBezTo>
                      <a:pt x="38862" y="95488"/>
                      <a:pt x="34445" y="96562"/>
                      <a:pt x="29496" y="96562"/>
                    </a:cubicBezTo>
                    <a:cubicBezTo>
                      <a:pt x="24808" y="96562"/>
                      <a:pt x="20630" y="95531"/>
                      <a:pt x="16962" y="93469"/>
                    </a:cubicBezTo>
                    <a:cubicBezTo>
                      <a:pt x="13294" y="91407"/>
                      <a:pt x="10201" y="88401"/>
                      <a:pt x="7684" y="84451"/>
                    </a:cubicBezTo>
                    <a:cubicBezTo>
                      <a:pt x="5166" y="80501"/>
                      <a:pt x="3256" y="75650"/>
                      <a:pt x="1954" y="69898"/>
                    </a:cubicBezTo>
                    <a:cubicBezTo>
                      <a:pt x="652" y="64147"/>
                      <a:pt x="0" y="57560"/>
                      <a:pt x="0" y="50137"/>
                    </a:cubicBezTo>
                    <a:cubicBezTo>
                      <a:pt x="0" y="41976"/>
                      <a:pt x="684" y="34770"/>
                      <a:pt x="2051" y="28520"/>
                    </a:cubicBezTo>
                    <a:cubicBezTo>
                      <a:pt x="3419" y="22269"/>
                      <a:pt x="5426" y="17027"/>
                      <a:pt x="8074" y="12795"/>
                    </a:cubicBezTo>
                    <a:cubicBezTo>
                      <a:pt x="10722" y="8563"/>
                      <a:pt x="14010" y="5372"/>
                      <a:pt x="17939" y="3223"/>
                    </a:cubicBezTo>
                    <a:cubicBezTo>
                      <a:pt x="21867" y="1075"/>
                      <a:pt x="26371" y="0"/>
                      <a:pt x="31450" y="0"/>
                    </a:cubicBezTo>
                    <a:close/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271D40B5-EAED-4B58-BBA6-E5B15DC5DAE9}"/>
                  </a:ext>
                </a:extLst>
              </p:cNvPr>
              <p:cNvSpPr/>
              <p:nvPr/>
            </p:nvSpPr>
            <p:spPr bwMode="auto">
              <a:xfrm>
                <a:off x="5010414" y="1156660"/>
                <a:ext cx="17428" cy="92477"/>
              </a:xfrm>
              <a:custGeom>
                <a:avLst/>
                <a:gdLst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7456 w 32296"/>
                  <a:gd name="connsiteY9" fmla="*/ 12404 h 95455"/>
                  <a:gd name="connsiteX10" fmla="*/ 15204 w 32296"/>
                  <a:gd name="connsiteY10" fmla="*/ 8693 h 95455"/>
                  <a:gd name="connsiteX11" fmla="*/ 22399 w 32296"/>
                  <a:gd name="connsiteY11" fmla="*/ 4396 h 95455"/>
                  <a:gd name="connsiteX12" fmla="*/ 28259 w 32296"/>
                  <a:gd name="connsiteY12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15204 w 32296"/>
                  <a:gd name="connsiteY9" fmla="*/ 8693 h 95455"/>
                  <a:gd name="connsiteX10" fmla="*/ 22399 w 32296"/>
                  <a:gd name="connsiteY10" fmla="*/ 4396 h 95455"/>
                  <a:gd name="connsiteX11" fmla="*/ 28259 w 32296"/>
                  <a:gd name="connsiteY11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2399 w 32296"/>
                  <a:gd name="connsiteY9" fmla="*/ 4396 h 95455"/>
                  <a:gd name="connsiteX10" fmla="*/ 28259 w 32296"/>
                  <a:gd name="connsiteY10" fmla="*/ 0 h 95455"/>
                  <a:gd name="connsiteX0" fmla="*/ 28259 w 32296"/>
                  <a:gd name="connsiteY0" fmla="*/ 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9" fmla="*/ 28259 w 32296"/>
                  <a:gd name="connsiteY9" fmla="*/ 0 h 95455"/>
                  <a:gd name="connsiteX0" fmla="*/ 0 w 32296"/>
                  <a:gd name="connsiteY0" fmla="*/ 25850 h 95455"/>
                  <a:gd name="connsiteX1" fmla="*/ 32296 w 32296"/>
                  <a:gd name="connsiteY1" fmla="*/ 0 h 95455"/>
                  <a:gd name="connsiteX2" fmla="*/ 32296 w 32296"/>
                  <a:gd name="connsiteY2" fmla="*/ 95455 h 95455"/>
                  <a:gd name="connsiteX3" fmla="*/ 21618 w 32296"/>
                  <a:gd name="connsiteY3" fmla="*/ 95455 h 95455"/>
                  <a:gd name="connsiteX4" fmla="*/ 21618 w 32296"/>
                  <a:gd name="connsiteY4" fmla="*/ 14781 h 95455"/>
                  <a:gd name="connsiteX5" fmla="*/ 18004 w 32296"/>
                  <a:gd name="connsiteY5" fmla="*/ 17613 h 95455"/>
                  <a:gd name="connsiteX6" fmla="*/ 12665 w 32296"/>
                  <a:gd name="connsiteY6" fmla="*/ 20771 h 95455"/>
                  <a:gd name="connsiteX7" fmla="*/ 6414 w 32296"/>
                  <a:gd name="connsiteY7" fmla="*/ 23701 h 95455"/>
                  <a:gd name="connsiteX8" fmla="*/ 0 w 32296"/>
                  <a:gd name="connsiteY8" fmla="*/ 25850 h 95455"/>
                  <a:gd name="connsiteX0" fmla="*/ 32296 w 37457"/>
                  <a:gd name="connsiteY0" fmla="*/ 0 h 95455"/>
                  <a:gd name="connsiteX1" fmla="*/ 32296 w 37457"/>
                  <a:gd name="connsiteY1" fmla="*/ 95455 h 95455"/>
                  <a:gd name="connsiteX2" fmla="*/ 21618 w 37457"/>
                  <a:gd name="connsiteY2" fmla="*/ 95455 h 95455"/>
                  <a:gd name="connsiteX3" fmla="*/ 21618 w 37457"/>
                  <a:gd name="connsiteY3" fmla="*/ 14781 h 95455"/>
                  <a:gd name="connsiteX4" fmla="*/ 18004 w 37457"/>
                  <a:gd name="connsiteY4" fmla="*/ 17613 h 95455"/>
                  <a:gd name="connsiteX5" fmla="*/ 12665 w 37457"/>
                  <a:gd name="connsiteY5" fmla="*/ 20771 h 95455"/>
                  <a:gd name="connsiteX6" fmla="*/ 6414 w 37457"/>
                  <a:gd name="connsiteY6" fmla="*/ 23701 h 95455"/>
                  <a:gd name="connsiteX7" fmla="*/ 0 w 37457"/>
                  <a:gd name="connsiteY7" fmla="*/ 25850 h 95455"/>
                  <a:gd name="connsiteX8" fmla="*/ 37457 w 37457"/>
                  <a:gd name="connsiteY8" fmla="*/ 5161 h 95455"/>
                  <a:gd name="connsiteX0" fmla="*/ 32296 w 37457"/>
                  <a:gd name="connsiteY0" fmla="*/ 90294 h 90294"/>
                  <a:gd name="connsiteX1" fmla="*/ 21618 w 37457"/>
                  <a:gd name="connsiteY1" fmla="*/ 90294 h 90294"/>
                  <a:gd name="connsiteX2" fmla="*/ 21618 w 37457"/>
                  <a:gd name="connsiteY2" fmla="*/ 9620 h 90294"/>
                  <a:gd name="connsiteX3" fmla="*/ 18004 w 37457"/>
                  <a:gd name="connsiteY3" fmla="*/ 12452 h 90294"/>
                  <a:gd name="connsiteX4" fmla="*/ 12665 w 37457"/>
                  <a:gd name="connsiteY4" fmla="*/ 15610 h 90294"/>
                  <a:gd name="connsiteX5" fmla="*/ 6414 w 37457"/>
                  <a:gd name="connsiteY5" fmla="*/ 18540 h 90294"/>
                  <a:gd name="connsiteX6" fmla="*/ 0 w 37457"/>
                  <a:gd name="connsiteY6" fmla="*/ 20689 h 90294"/>
                  <a:gd name="connsiteX7" fmla="*/ 37457 w 37457"/>
                  <a:gd name="connsiteY7" fmla="*/ 0 h 90294"/>
                  <a:gd name="connsiteX0" fmla="*/ 32296 w 32296"/>
                  <a:gd name="connsiteY0" fmla="*/ 80674 h 80674"/>
                  <a:gd name="connsiteX1" fmla="*/ 21618 w 32296"/>
                  <a:gd name="connsiteY1" fmla="*/ 80674 h 80674"/>
                  <a:gd name="connsiteX2" fmla="*/ 21618 w 32296"/>
                  <a:gd name="connsiteY2" fmla="*/ 0 h 80674"/>
                  <a:gd name="connsiteX3" fmla="*/ 18004 w 32296"/>
                  <a:gd name="connsiteY3" fmla="*/ 2832 h 80674"/>
                  <a:gd name="connsiteX4" fmla="*/ 12665 w 32296"/>
                  <a:gd name="connsiteY4" fmla="*/ 5990 h 80674"/>
                  <a:gd name="connsiteX5" fmla="*/ 6414 w 32296"/>
                  <a:gd name="connsiteY5" fmla="*/ 8920 h 80674"/>
                  <a:gd name="connsiteX6" fmla="*/ 0 w 32296"/>
                  <a:gd name="connsiteY6" fmla="*/ 11069 h 80674"/>
                  <a:gd name="connsiteX0" fmla="*/ 21618 w 21618"/>
                  <a:gd name="connsiteY0" fmla="*/ 80674 h 80674"/>
                  <a:gd name="connsiteX1" fmla="*/ 21618 w 21618"/>
                  <a:gd name="connsiteY1" fmla="*/ 0 h 80674"/>
                  <a:gd name="connsiteX2" fmla="*/ 18004 w 21618"/>
                  <a:gd name="connsiteY2" fmla="*/ 2832 h 80674"/>
                  <a:gd name="connsiteX3" fmla="*/ 12665 w 21618"/>
                  <a:gd name="connsiteY3" fmla="*/ 5990 h 80674"/>
                  <a:gd name="connsiteX4" fmla="*/ 6414 w 21618"/>
                  <a:gd name="connsiteY4" fmla="*/ 8920 h 80674"/>
                  <a:gd name="connsiteX5" fmla="*/ 0 w 21618"/>
                  <a:gd name="connsiteY5" fmla="*/ 11069 h 80674"/>
                  <a:gd name="connsiteX0" fmla="*/ 15204 w 15204"/>
                  <a:gd name="connsiteY0" fmla="*/ 80674 h 80674"/>
                  <a:gd name="connsiteX1" fmla="*/ 15204 w 15204"/>
                  <a:gd name="connsiteY1" fmla="*/ 0 h 80674"/>
                  <a:gd name="connsiteX2" fmla="*/ 11590 w 15204"/>
                  <a:gd name="connsiteY2" fmla="*/ 2832 h 80674"/>
                  <a:gd name="connsiteX3" fmla="*/ 6251 w 15204"/>
                  <a:gd name="connsiteY3" fmla="*/ 5990 h 80674"/>
                  <a:gd name="connsiteX4" fmla="*/ 0 w 15204"/>
                  <a:gd name="connsiteY4" fmla="*/ 8920 h 8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04" h="80674">
                    <a:moveTo>
                      <a:pt x="15204" y="80674"/>
                    </a:moveTo>
                    <a:lnTo>
                      <a:pt x="15204" y="0"/>
                    </a:lnTo>
                    <a:cubicBezTo>
                      <a:pt x="14379" y="825"/>
                      <a:pt x="13174" y="1769"/>
                      <a:pt x="11590" y="2832"/>
                    </a:cubicBezTo>
                    <a:cubicBezTo>
                      <a:pt x="10006" y="3896"/>
                      <a:pt x="8226" y="4948"/>
                      <a:pt x="6251" y="5990"/>
                    </a:cubicBezTo>
                    <a:cubicBezTo>
                      <a:pt x="4276" y="7032"/>
                      <a:pt x="2192" y="8009"/>
                      <a:pt x="0" y="8920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beve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5" name="Right Triangle 104">
              <a:extLst>
                <a:ext uri="{FF2B5EF4-FFF2-40B4-BE49-F238E27FC236}">
                  <a16:creationId xmlns:a16="http://schemas.microsoft.com/office/drawing/2014/main" id="{91042C83-E435-4F2A-AAF9-96EDE1D33BB0}"/>
                </a:ext>
              </a:extLst>
            </p:cNvPr>
            <p:cNvSpPr/>
            <p:nvPr/>
          </p:nvSpPr>
          <p:spPr bwMode="auto">
            <a:xfrm>
              <a:off x="5326469" y="2189582"/>
              <a:ext cx="668200" cy="662475"/>
            </a:xfrm>
            <a:prstGeom prst="rtTriangle">
              <a:avLst/>
            </a:prstGeom>
            <a:noFill/>
            <a:ln w="1270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10C4126-9CCD-46A2-ABCD-BA316A5407D3}"/>
              </a:ext>
            </a:extLst>
          </p:cNvPr>
          <p:cNvGrpSpPr/>
          <p:nvPr/>
        </p:nvGrpSpPr>
        <p:grpSpPr>
          <a:xfrm>
            <a:off x="2953700" y="2587700"/>
            <a:ext cx="485337" cy="487453"/>
            <a:chOff x="5279190" y="5401430"/>
            <a:chExt cx="1101836" cy="1106637"/>
          </a:xfrm>
        </p:grpSpPr>
        <p:sp>
          <p:nvSpPr>
            <p:cNvPr id="120" name="Freeform: Shape 815">
              <a:extLst>
                <a:ext uri="{FF2B5EF4-FFF2-40B4-BE49-F238E27FC236}">
                  <a16:creationId xmlns:a16="http://schemas.microsoft.com/office/drawing/2014/main" id="{2B649B38-590C-455B-AC92-B2E5E3D22380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1" name="Freeform: Shape 816">
              <a:extLst>
                <a:ext uri="{FF2B5EF4-FFF2-40B4-BE49-F238E27FC236}">
                  <a16:creationId xmlns:a16="http://schemas.microsoft.com/office/drawing/2014/main" id="{4409128E-79E1-420C-A08A-140ADB76C667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2" name="Freeform: Shape 817">
              <a:extLst>
                <a:ext uri="{FF2B5EF4-FFF2-40B4-BE49-F238E27FC236}">
                  <a16:creationId xmlns:a16="http://schemas.microsoft.com/office/drawing/2014/main" id="{85C05722-B50C-47C1-8E08-780D7E91F5F9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3" name="Freeform: Shape 818">
              <a:extLst>
                <a:ext uri="{FF2B5EF4-FFF2-40B4-BE49-F238E27FC236}">
                  <a16:creationId xmlns:a16="http://schemas.microsoft.com/office/drawing/2014/main" id="{EDB0C3E3-66B8-4011-859D-92EFDF08CD9D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124" name="Freeform: Shape 819">
              <a:extLst>
                <a:ext uri="{FF2B5EF4-FFF2-40B4-BE49-F238E27FC236}">
                  <a16:creationId xmlns:a16="http://schemas.microsoft.com/office/drawing/2014/main" id="{2666FB3D-6BE9-417E-BCCA-5C558AAFD344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BD82E912-1E00-4DE2-97F6-30A24D1F25B1}"/>
              </a:ext>
            </a:extLst>
          </p:cNvPr>
          <p:cNvCxnSpPr>
            <a:cxnSpLocks/>
            <a:stCxn id="55" idx="2"/>
          </p:cNvCxnSpPr>
          <p:nvPr/>
        </p:nvCxnSpPr>
        <p:spPr>
          <a:xfrm rot="16200000" flipH="1">
            <a:off x="6106814" y="1817002"/>
            <a:ext cx="1150186" cy="4258226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A6F4BF33-5225-450D-927C-7940B48BC4CF}"/>
              </a:ext>
            </a:extLst>
          </p:cNvPr>
          <p:cNvCxnSpPr>
            <a:cxnSpLocks/>
          </p:cNvCxnSpPr>
          <p:nvPr/>
        </p:nvCxnSpPr>
        <p:spPr>
          <a:xfrm>
            <a:off x="3572438" y="4712914"/>
            <a:ext cx="5238582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1B8BBAF3-1F56-47F4-9C52-A8F5660B4B95}"/>
              </a:ext>
            </a:extLst>
          </p:cNvPr>
          <p:cNvCxnSpPr>
            <a:cxnSpLocks/>
          </p:cNvCxnSpPr>
          <p:nvPr/>
        </p:nvCxnSpPr>
        <p:spPr>
          <a:xfrm>
            <a:off x="3572437" y="2828043"/>
            <a:ext cx="559509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1E866CE4-AFE8-4516-96DE-DECC60FDF8A9}"/>
              </a:ext>
            </a:extLst>
          </p:cNvPr>
          <p:cNvCxnSpPr>
            <a:cxnSpLocks/>
          </p:cNvCxnSpPr>
          <p:nvPr/>
        </p:nvCxnSpPr>
        <p:spPr>
          <a:xfrm>
            <a:off x="2316994" y="2828043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92E9BE1B-7FE9-405F-AC51-44A9F0C8BA4F}"/>
              </a:ext>
            </a:extLst>
          </p:cNvPr>
          <p:cNvCxnSpPr>
            <a:cxnSpLocks/>
          </p:cNvCxnSpPr>
          <p:nvPr/>
        </p:nvCxnSpPr>
        <p:spPr>
          <a:xfrm>
            <a:off x="2316994" y="4635035"/>
            <a:ext cx="448119" cy="1665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30B9744B-74F3-4B39-BA9F-C25D5EA35B0F}"/>
              </a:ext>
            </a:extLst>
          </p:cNvPr>
          <p:cNvGrpSpPr/>
          <p:nvPr/>
        </p:nvGrpSpPr>
        <p:grpSpPr>
          <a:xfrm>
            <a:off x="2953700" y="4395430"/>
            <a:ext cx="485337" cy="487453"/>
            <a:chOff x="5279190" y="5401430"/>
            <a:chExt cx="1101836" cy="1106637"/>
          </a:xfrm>
        </p:grpSpPr>
        <p:sp>
          <p:nvSpPr>
            <p:cNvPr id="131" name="Freeform: Shape 815">
              <a:extLst>
                <a:ext uri="{FF2B5EF4-FFF2-40B4-BE49-F238E27FC236}">
                  <a16:creationId xmlns:a16="http://schemas.microsoft.com/office/drawing/2014/main" id="{C7558B1D-662E-4C2E-9008-ED7E83B1A023}"/>
                </a:ext>
              </a:extLst>
            </p:cNvPr>
            <p:cNvSpPr/>
            <p:nvPr/>
          </p:nvSpPr>
          <p:spPr bwMode="auto">
            <a:xfrm>
              <a:off x="5708249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2" name="Freeform: Shape 816">
              <a:extLst>
                <a:ext uri="{FF2B5EF4-FFF2-40B4-BE49-F238E27FC236}">
                  <a16:creationId xmlns:a16="http://schemas.microsoft.com/office/drawing/2014/main" id="{226F6D33-D617-47CD-9FB8-C54B990F5DF4}"/>
                </a:ext>
              </a:extLst>
            </p:cNvPr>
            <p:cNvSpPr/>
            <p:nvPr/>
          </p:nvSpPr>
          <p:spPr bwMode="auto">
            <a:xfrm>
              <a:off x="5921817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3" name="Freeform: Shape 817">
              <a:extLst>
                <a:ext uri="{FF2B5EF4-FFF2-40B4-BE49-F238E27FC236}">
                  <a16:creationId xmlns:a16="http://schemas.microsoft.com/office/drawing/2014/main" id="{DA8B0BA8-3124-46B6-B3B1-C205D4E266B7}"/>
                </a:ext>
              </a:extLst>
            </p:cNvPr>
            <p:cNvSpPr/>
            <p:nvPr/>
          </p:nvSpPr>
          <p:spPr bwMode="auto">
            <a:xfrm>
              <a:off x="6135385" y="6208019"/>
              <a:ext cx="122821" cy="122820"/>
            </a:xfrm>
            <a:custGeom>
              <a:avLst/>
              <a:gdLst>
                <a:gd name="connsiteX0" fmla="*/ 0 w 122821"/>
                <a:gd name="connsiteY0" fmla="*/ 0 h 122820"/>
                <a:gd name="connsiteX1" fmla="*/ 122821 w 122821"/>
                <a:gd name="connsiteY1" fmla="*/ 0 h 122820"/>
                <a:gd name="connsiteX2" fmla="*/ 122821 w 122821"/>
                <a:gd name="connsiteY2" fmla="*/ 122820 h 122820"/>
                <a:gd name="connsiteX3" fmla="*/ 0 w 122821"/>
                <a:gd name="connsiteY3" fmla="*/ 122820 h 122820"/>
                <a:gd name="connsiteX4" fmla="*/ 0 w 122821"/>
                <a:gd name="connsiteY4" fmla="*/ 0 h 12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821" h="122820">
                  <a:moveTo>
                    <a:pt x="0" y="0"/>
                  </a:moveTo>
                  <a:lnTo>
                    <a:pt x="122821" y="0"/>
                  </a:lnTo>
                  <a:lnTo>
                    <a:pt x="122821" y="122820"/>
                  </a:lnTo>
                  <a:lnTo>
                    <a:pt x="0" y="12282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4" name="Freeform: Shape 818">
              <a:extLst>
                <a:ext uri="{FF2B5EF4-FFF2-40B4-BE49-F238E27FC236}">
                  <a16:creationId xmlns:a16="http://schemas.microsoft.com/office/drawing/2014/main" id="{A21E33E8-CC8C-425F-BB1B-9091F9DBF3E5}"/>
                </a:ext>
              </a:extLst>
            </p:cNvPr>
            <p:cNvSpPr/>
            <p:nvPr/>
          </p:nvSpPr>
          <p:spPr bwMode="auto">
            <a:xfrm>
              <a:off x="5279191" y="5499596"/>
              <a:ext cx="1101835" cy="1008471"/>
            </a:xfrm>
            <a:custGeom>
              <a:avLst/>
              <a:gdLst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245153 w 1101835"/>
                <a:gd name="connsiteY9" fmla="*/ 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9" fmla="*/ 336593 w 1101835"/>
                <a:gd name="connsiteY9" fmla="*/ 91440 h 1098248"/>
                <a:gd name="connsiteX0" fmla="*/ 245153 w 1101835"/>
                <a:gd name="connsiteY0" fmla="*/ 0 h 1098248"/>
                <a:gd name="connsiteX1" fmla="*/ 489041 w 1101835"/>
                <a:gd name="connsiteY1" fmla="*/ 89777 h 1098248"/>
                <a:gd name="connsiteX2" fmla="*/ 490307 w 1101835"/>
                <a:gd name="connsiteY2" fmla="*/ 641334 h 1098248"/>
                <a:gd name="connsiteX3" fmla="*/ 796071 w 1101835"/>
                <a:gd name="connsiteY3" fmla="*/ 374222 h 1098248"/>
                <a:gd name="connsiteX4" fmla="*/ 796071 w 1101835"/>
                <a:gd name="connsiteY4" fmla="*/ 641334 h 1098248"/>
                <a:gd name="connsiteX5" fmla="*/ 1101835 w 1101835"/>
                <a:gd name="connsiteY5" fmla="*/ 374222 h 1098248"/>
                <a:gd name="connsiteX6" fmla="*/ 1101835 w 1101835"/>
                <a:gd name="connsiteY6" fmla="*/ 1098248 h 1098248"/>
                <a:gd name="connsiteX7" fmla="*/ 0 w 1101835"/>
                <a:gd name="connsiteY7" fmla="*/ 1098248 h 1098248"/>
                <a:gd name="connsiteX8" fmla="*/ 1265 w 1101835"/>
                <a:gd name="connsiteY8" fmla="*/ 89777 h 1098248"/>
                <a:gd name="connsiteX0" fmla="*/ 489041 w 1101835"/>
                <a:gd name="connsiteY0" fmla="*/ 0 h 1008471"/>
                <a:gd name="connsiteX1" fmla="*/ 490307 w 1101835"/>
                <a:gd name="connsiteY1" fmla="*/ 551557 h 1008471"/>
                <a:gd name="connsiteX2" fmla="*/ 796071 w 1101835"/>
                <a:gd name="connsiteY2" fmla="*/ 284445 h 1008471"/>
                <a:gd name="connsiteX3" fmla="*/ 796071 w 1101835"/>
                <a:gd name="connsiteY3" fmla="*/ 551557 h 1008471"/>
                <a:gd name="connsiteX4" fmla="*/ 1101835 w 1101835"/>
                <a:gd name="connsiteY4" fmla="*/ 284445 h 1008471"/>
                <a:gd name="connsiteX5" fmla="*/ 1101835 w 1101835"/>
                <a:gd name="connsiteY5" fmla="*/ 1008471 h 1008471"/>
                <a:gd name="connsiteX6" fmla="*/ 0 w 1101835"/>
                <a:gd name="connsiteY6" fmla="*/ 1008471 h 1008471"/>
                <a:gd name="connsiteX7" fmla="*/ 1265 w 1101835"/>
                <a:gd name="connsiteY7" fmla="*/ 0 h 100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1835" h="1008471">
                  <a:moveTo>
                    <a:pt x="489041" y="0"/>
                  </a:moveTo>
                  <a:lnTo>
                    <a:pt x="490307" y="551557"/>
                  </a:lnTo>
                  <a:lnTo>
                    <a:pt x="796071" y="284445"/>
                  </a:lnTo>
                  <a:lnTo>
                    <a:pt x="796071" y="551557"/>
                  </a:lnTo>
                  <a:lnTo>
                    <a:pt x="1101835" y="284445"/>
                  </a:lnTo>
                  <a:lnTo>
                    <a:pt x="1101835" y="1008471"/>
                  </a:lnTo>
                  <a:lnTo>
                    <a:pt x="0" y="1008471"/>
                  </a:lnTo>
                  <a:cubicBezTo>
                    <a:pt x="422" y="672314"/>
                    <a:pt x="843" y="336157"/>
                    <a:pt x="1265" y="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 useBgFill="1">
          <p:nvSpPr>
            <p:cNvPr id="135" name="Freeform: Shape 819">
              <a:extLst>
                <a:ext uri="{FF2B5EF4-FFF2-40B4-BE49-F238E27FC236}">
                  <a16:creationId xmlns:a16="http://schemas.microsoft.com/office/drawing/2014/main" id="{006786E7-F453-45FD-B86E-06BC07290116}"/>
                </a:ext>
              </a:extLst>
            </p:cNvPr>
            <p:cNvSpPr/>
            <p:nvPr/>
          </p:nvSpPr>
          <p:spPr bwMode="auto">
            <a:xfrm>
              <a:off x="5279190" y="5401430"/>
              <a:ext cx="488333" cy="201776"/>
            </a:xfrm>
            <a:custGeom>
              <a:avLst/>
              <a:gdLst>
                <a:gd name="connsiteX0" fmla="*/ 246301 w 492602"/>
                <a:gd name="connsiteY0" fmla="*/ 0 h 201776"/>
                <a:gd name="connsiteX1" fmla="*/ 492602 w 492602"/>
                <a:gd name="connsiteY1" fmla="*/ 100888 h 201776"/>
                <a:gd name="connsiteX2" fmla="*/ 246301 w 492602"/>
                <a:gd name="connsiteY2" fmla="*/ 201776 h 201776"/>
                <a:gd name="connsiteX3" fmla="*/ 0 w 492602"/>
                <a:gd name="connsiteY3" fmla="*/ 100888 h 201776"/>
                <a:gd name="connsiteX4" fmla="*/ 246301 w 492602"/>
                <a:gd name="connsiteY4" fmla="*/ 0 h 20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602" h="201776">
                  <a:moveTo>
                    <a:pt x="246301" y="0"/>
                  </a:moveTo>
                  <a:cubicBezTo>
                    <a:pt x="382329" y="0"/>
                    <a:pt x="492602" y="45169"/>
                    <a:pt x="492602" y="100888"/>
                  </a:cubicBezTo>
                  <a:cubicBezTo>
                    <a:pt x="492602" y="156607"/>
                    <a:pt x="382329" y="201776"/>
                    <a:pt x="246301" y="201776"/>
                  </a:cubicBezTo>
                  <a:cubicBezTo>
                    <a:pt x="110273" y="201776"/>
                    <a:pt x="0" y="156607"/>
                    <a:pt x="0" y="100888"/>
                  </a:cubicBezTo>
                  <a:cubicBezTo>
                    <a:pt x="0" y="45169"/>
                    <a:pt x="110273" y="0"/>
                    <a:pt x="246301" y="0"/>
                  </a:cubicBezTo>
                  <a:close/>
                </a:path>
              </a:pathLst>
            </a:custGeom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6" name="Shape 101">
            <a:extLst>
              <a:ext uri="{FF2B5EF4-FFF2-40B4-BE49-F238E27FC236}">
                <a16:creationId xmlns:a16="http://schemas.microsoft.com/office/drawing/2014/main" id="{004EB5FA-7291-4C98-A605-4F50B848EAA4}"/>
              </a:ext>
            </a:extLst>
          </p:cNvPr>
          <p:cNvSpPr txBox="1"/>
          <p:nvPr/>
        </p:nvSpPr>
        <p:spPr>
          <a:xfrm>
            <a:off x="10602630" y="5387437"/>
            <a:ext cx="1516015" cy="25387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sym typeface="Calibri"/>
              </a:rPr>
              <a:t>Browser/Device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  <a:sym typeface="Calibri"/>
            </a:endParaRP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880C3AB9-0446-4587-B7B9-12720B588227}"/>
              </a:ext>
            </a:extLst>
          </p:cNvPr>
          <p:cNvGrpSpPr/>
          <p:nvPr/>
        </p:nvGrpSpPr>
        <p:grpSpPr>
          <a:xfrm>
            <a:off x="10818474" y="4879638"/>
            <a:ext cx="669375" cy="526560"/>
            <a:chOff x="10725498" y="5087603"/>
            <a:chExt cx="498940" cy="424437"/>
          </a:xfrm>
        </p:grpSpPr>
        <p:sp>
          <p:nvSpPr>
            <p:cNvPr id="138" name="graph_2">
              <a:extLst>
                <a:ext uri="{FF2B5EF4-FFF2-40B4-BE49-F238E27FC236}">
                  <a16:creationId xmlns:a16="http://schemas.microsoft.com/office/drawing/2014/main" id="{7F48245E-E6BB-4410-9B95-1E0BC99720B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829194" y="5267741"/>
              <a:ext cx="291548" cy="170948"/>
            </a:xfrm>
            <a:custGeom>
              <a:avLst/>
              <a:gdLst>
                <a:gd name="T0" fmla="*/ 195 w 249"/>
                <a:gd name="T1" fmla="*/ 0 h 146"/>
                <a:gd name="T2" fmla="*/ 244 w 249"/>
                <a:gd name="T3" fmla="*/ 0 h 146"/>
                <a:gd name="T4" fmla="*/ 244 w 249"/>
                <a:gd name="T5" fmla="*/ 50 h 146"/>
                <a:gd name="T6" fmla="*/ 244 w 249"/>
                <a:gd name="T7" fmla="*/ 0 h 146"/>
                <a:gd name="T8" fmla="*/ 141 w 249"/>
                <a:gd name="T9" fmla="*/ 106 h 146"/>
                <a:gd name="T10" fmla="*/ 109 w 249"/>
                <a:gd name="T11" fmla="*/ 106 h 146"/>
                <a:gd name="T12" fmla="*/ 0 w 249"/>
                <a:gd name="T13" fmla="*/ 146 h 146"/>
                <a:gd name="T14" fmla="*/ 249 w 249"/>
                <a:gd name="T15" fmla="*/ 146 h 146"/>
                <a:gd name="T16" fmla="*/ 88 w 249"/>
                <a:gd name="T17" fmla="*/ 106 h 146"/>
                <a:gd name="T18" fmla="*/ 54 w 249"/>
                <a:gd name="T19" fmla="*/ 106 h 146"/>
                <a:gd name="T20" fmla="*/ 35 w 249"/>
                <a:gd name="T21" fmla="*/ 106 h 146"/>
                <a:gd name="T22" fmla="*/ 1 w 249"/>
                <a:gd name="T23" fmla="*/ 10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" h="146">
                  <a:moveTo>
                    <a:pt x="195" y="0"/>
                  </a:moveTo>
                  <a:lnTo>
                    <a:pt x="244" y="0"/>
                  </a:lnTo>
                  <a:lnTo>
                    <a:pt x="244" y="50"/>
                  </a:lnTo>
                  <a:moveTo>
                    <a:pt x="244" y="0"/>
                  </a:moveTo>
                  <a:lnTo>
                    <a:pt x="141" y="106"/>
                  </a:lnTo>
                  <a:lnTo>
                    <a:pt x="109" y="106"/>
                  </a:lnTo>
                  <a:moveTo>
                    <a:pt x="0" y="146"/>
                  </a:moveTo>
                  <a:lnTo>
                    <a:pt x="249" y="146"/>
                  </a:lnTo>
                  <a:moveTo>
                    <a:pt x="88" y="106"/>
                  </a:moveTo>
                  <a:lnTo>
                    <a:pt x="54" y="106"/>
                  </a:lnTo>
                  <a:moveTo>
                    <a:pt x="35" y="106"/>
                  </a:moveTo>
                  <a:lnTo>
                    <a:pt x="1" y="106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40B6CDEA-FD9C-4EBB-BB06-C18B3AAA5227}"/>
                </a:ext>
              </a:extLst>
            </p:cNvPr>
            <p:cNvGrpSpPr/>
            <p:nvPr/>
          </p:nvGrpSpPr>
          <p:grpSpPr>
            <a:xfrm>
              <a:off x="10725498" y="5087603"/>
              <a:ext cx="498940" cy="424437"/>
              <a:chOff x="10725498" y="5087603"/>
              <a:chExt cx="498940" cy="424437"/>
            </a:xfrm>
          </p:grpSpPr>
          <p:sp>
            <p:nvSpPr>
              <p:cNvPr id="140" name="Rectangle 9">
                <a:extLst>
                  <a:ext uri="{FF2B5EF4-FFF2-40B4-BE49-F238E27FC236}">
                    <a16:creationId xmlns:a16="http://schemas.microsoft.com/office/drawing/2014/main" id="{4AED2A3C-624E-4C90-A564-E86871A656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25498" y="5087603"/>
                <a:ext cx="498940" cy="424437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1" name="Line 10">
                <a:extLst>
                  <a:ext uri="{FF2B5EF4-FFF2-40B4-BE49-F238E27FC236}">
                    <a16:creationId xmlns:a16="http://schemas.microsoft.com/office/drawing/2014/main" id="{E4F5F3A3-1D90-42A7-BF19-EE2F9B1853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725498" y="5202743"/>
                <a:ext cx="49894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2" name="Oval 11">
                <a:extLst>
                  <a:ext uri="{FF2B5EF4-FFF2-40B4-BE49-F238E27FC236}">
                    <a16:creationId xmlns:a16="http://schemas.microsoft.com/office/drawing/2014/main" id="{7E2BDA1D-B4E0-48F2-87EC-BD6F8275D0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447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3" name="Oval 12">
                <a:extLst>
                  <a:ext uri="{FF2B5EF4-FFF2-40B4-BE49-F238E27FC236}">
                    <a16:creationId xmlns:a16="http://schemas.microsoft.com/office/drawing/2014/main" id="{9C601DB5-7749-4B85-8116-1C2D1F139F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0918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4" name="Oval 13">
                <a:extLst>
                  <a:ext uri="{FF2B5EF4-FFF2-40B4-BE49-F238E27FC236}">
                    <a16:creationId xmlns:a16="http://schemas.microsoft.com/office/drawing/2014/main" id="{693A2D0E-294B-4693-AD09-F98A1752BA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9617" y="5125983"/>
                <a:ext cx="38380" cy="38380"/>
              </a:xfrm>
              <a:prstGeom prst="ellipse">
                <a:avLst/>
              </a:pr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5921ABC7-25F2-4EC9-AB5F-FD96E1AEF161}"/>
              </a:ext>
            </a:extLst>
          </p:cNvPr>
          <p:cNvGrpSpPr/>
          <p:nvPr/>
        </p:nvGrpSpPr>
        <p:grpSpPr>
          <a:xfrm>
            <a:off x="6916933" y="2430582"/>
            <a:ext cx="595274" cy="485668"/>
            <a:chOff x="5818113" y="2550840"/>
            <a:chExt cx="529278" cy="431824"/>
          </a:xfrm>
        </p:grpSpPr>
        <p:sp>
          <p:nvSpPr>
            <p:cNvPr id="146" name="Diamond 145">
              <a:extLst>
                <a:ext uri="{FF2B5EF4-FFF2-40B4-BE49-F238E27FC236}">
                  <a16:creationId xmlns:a16="http://schemas.microsoft.com/office/drawing/2014/main" id="{2E18305E-8E76-4BB5-8B05-EC883DD53835}"/>
                </a:ext>
              </a:extLst>
            </p:cNvPr>
            <p:cNvSpPr/>
            <p:nvPr/>
          </p:nvSpPr>
          <p:spPr bwMode="auto">
            <a:xfrm>
              <a:off x="5818113" y="2550840"/>
              <a:ext cx="529278" cy="274527"/>
            </a:xfrm>
            <a:prstGeom prst="diamond">
              <a:avLst/>
            </a:pr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BB7D90DB-A3C0-492B-9DAE-DADC06AEBC71}"/>
                </a:ext>
              </a:extLst>
            </p:cNvPr>
            <p:cNvSpPr/>
            <p:nvPr/>
          </p:nvSpPr>
          <p:spPr bwMode="auto">
            <a:xfrm>
              <a:off x="5818113" y="2797200"/>
              <a:ext cx="529278" cy="185464"/>
            </a:xfrm>
            <a:custGeom>
              <a:avLst/>
              <a:gdLst>
                <a:gd name="connsiteX0" fmla="*/ 92930 w 529278"/>
                <a:gd name="connsiteY0" fmla="*/ 0 h 185464"/>
                <a:gd name="connsiteX1" fmla="*/ 264639 w 529278"/>
                <a:gd name="connsiteY1" fmla="*/ 89062 h 185464"/>
                <a:gd name="connsiteX2" fmla="*/ 436348 w 529278"/>
                <a:gd name="connsiteY2" fmla="*/ 0 h 185464"/>
                <a:gd name="connsiteX3" fmla="*/ 529278 w 529278"/>
                <a:gd name="connsiteY3" fmla="*/ 48201 h 185464"/>
                <a:gd name="connsiteX4" fmla="*/ 264639 w 529278"/>
                <a:gd name="connsiteY4" fmla="*/ 185464 h 185464"/>
                <a:gd name="connsiteX5" fmla="*/ 0 w 529278"/>
                <a:gd name="connsiteY5" fmla="*/ 48201 h 185464"/>
                <a:gd name="connsiteX6" fmla="*/ 92930 w 529278"/>
                <a:gd name="connsiteY6" fmla="*/ 0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6" fmla="*/ 356079 w 529278"/>
                <a:gd name="connsiteY6" fmla="*/ 180502 h 185464"/>
                <a:gd name="connsiteX0" fmla="*/ 264639 w 529278"/>
                <a:gd name="connsiteY0" fmla="*/ 89062 h 185464"/>
                <a:gd name="connsiteX1" fmla="*/ 436348 w 529278"/>
                <a:gd name="connsiteY1" fmla="*/ 0 h 185464"/>
                <a:gd name="connsiteX2" fmla="*/ 529278 w 529278"/>
                <a:gd name="connsiteY2" fmla="*/ 48201 h 185464"/>
                <a:gd name="connsiteX3" fmla="*/ 264639 w 529278"/>
                <a:gd name="connsiteY3" fmla="*/ 185464 h 185464"/>
                <a:gd name="connsiteX4" fmla="*/ 0 w 529278"/>
                <a:gd name="connsiteY4" fmla="*/ 48201 h 185464"/>
                <a:gd name="connsiteX5" fmla="*/ 92930 w 529278"/>
                <a:gd name="connsiteY5" fmla="*/ 0 h 185464"/>
                <a:gd name="connsiteX0" fmla="*/ 436348 w 529278"/>
                <a:gd name="connsiteY0" fmla="*/ 0 h 185464"/>
                <a:gd name="connsiteX1" fmla="*/ 529278 w 529278"/>
                <a:gd name="connsiteY1" fmla="*/ 48201 h 185464"/>
                <a:gd name="connsiteX2" fmla="*/ 264639 w 529278"/>
                <a:gd name="connsiteY2" fmla="*/ 185464 h 185464"/>
                <a:gd name="connsiteX3" fmla="*/ 0 w 529278"/>
                <a:gd name="connsiteY3" fmla="*/ 48201 h 185464"/>
                <a:gd name="connsiteX4" fmla="*/ 92930 w 529278"/>
                <a:gd name="connsiteY4" fmla="*/ 0 h 1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278" h="185464">
                  <a:moveTo>
                    <a:pt x="436348" y="0"/>
                  </a:moveTo>
                  <a:lnTo>
                    <a:pt x="529278" y="48201"/>
                  </a:lnTo>
                  <a:lnTo>
                    <a:pt x="264639" y="185464"/>
                  </a:lnTo>
                  <a:lnTo>
                    <a:pt x="0" y="48201"/>
                  </a:lnTo>
                  <a:lnTo>
                    <a:pt x="9293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322D909-A987-481C-A670-8B8109A14404}"/>
              </a:ext>
            </a:extLst>
          </p:cNvPr>
          <p:cNvSpPr/>
          <p:nvPr/>
        </p:nvSpPr>
        <p:spPr bwMode="auto">
          <a:xfrm>
            <a:off x="1936542" y="1546386"/>
            <a:ext cx="8432552" cy="4263966"/>
          </a:xfrm>
          <a:prstGeom prst="rect">
            <a:avLst/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BE031A7-9B6F-4C69-A610-A826DFDEDAB1}"/>
              </a:ext>
            </a:extLst>
          </p:cNvPr>
          <p:cNvSpPr/>
          <p:nvPr/>
        </p:nvSpPr>
        <p:spPr bwMode="auto">
          <a:xfrm>
            <a:off x="8616021" y="1749131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del &amp; Serve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24CEDF74-995A-419B-AD6E-898F27AB723F}"/>
              </a:ext>
            </a:extLst>
          </p:cNvPr>
          <p:cNvSpPr/>
          <p:nvPr/>
        </p:nvSpPr>
        <p:spPr bwMode="auto">
          <a:xfrm>
            <a:off x="6608998" y="1749131"/>
            <a:ext cx="1377453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rep &amp; Train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CF3C995-2C79-43BE-959A-DDA9F5282E4A}"/>
              </a:ext>
            </a:extLst>
          </p:cNvPr>
          <p:cNvSpPr/>
          <p:nvPr/>
        </p:nvSpPr>
        <p:spPr bwMode="auto">
          <a:xfrm>
            <a:off x="4564817" y="1749131"/>
            <a:ext cx="1392554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5225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or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2AA7F8EA-3F10-4BFA-90C2-7EF58FF24FF1}"/>
              </a:ext>
            </a:extLst>
          </p:cNvPr>
          <p:cNvSpPr/>
          <p:nvPr/>
        </p:nvSpPr>
        <p:spPr bwMode="auto">
          <a:xfrm>
            <a:off x="2609300" y="1749131"/>
            <a:ext cx="1384695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gest</a:t>
            </a:r>
          </a:p>
        </p:txBody>
      </p:sp>
      <p:cxnSp>
        <p:nvCxnSpPr>
          <p:cNvPr id="153" name="Connector: Elbow 152">
            <a:extLst>
              <a:ext uri="{FF2B5EF4-FFF2-40B4-BE49-F238E27FC236}">
                <a16:creationId xmlns:a16="http://schemas.microsoft.com/office/drawing/2014/main" id="{847535EE-AF1B-41B6-BD64-0C75DCD84CC5}"/>
              </a:ext>
            </a:extLst>
          </p:cNvPr>
          <p:cNvCxnSpPr>
            <a:cxnSpLocks/>
            <a:stCxn id="70" idx="2"/>
          </p:cNvCxnSpPr>
          <p:nvPr/>
        </p:nvCxnSpPr>
        <p:spPr>
          <a:xfrm rot="16200000" flipH="1">
            <a:off x="7519240" y="3036798"/>
            <a:ext cx="989616" cy="1593945"/>
          </a:xfrm>
          <a:prstGeom prst="bentConnector2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tangle 153">
            <a:extLst>
              <a:ext uri="{FF2B5EF4-FFF2-40B4-BE49-F238E27FC236}">
                <a16:creationId xmlns:a16="http://schemas.microsoft.com/office/drawing/2014/main" id="{27263E0B-BAB5-4716-B734-4770D7A046A6}"/>
              </a:ext>
            </a:extLst>
          </p:cNvPr>
          <p:cNvSpPr/>
          <p:nvPr/>
        </p:nvSpPr>
        <p:spPr bwMode="auto">
          <a:xfrm>
            <a:off x="10420291" y="1770094"/>
            <a:ext cx="1432897" cy="307777"/>
          </a:xfrm>
          <a:prstGeom prst="rect">
            <a:avLst/>
          </a:prstGeom>
          <a:noFill/>
          <a:ln w="317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spAutoFit/>
          </a:bodyPr>
          <a:lstStyle/>
          <a:p>
            <a:pPr marL="0" marR="0" lvl="0" indent="0" algn="ctr" defTabSz="7105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Intelligence</a:t>
            </a:r>
          </a:p>
        </p:txBody>
      </p:sp>
      <p:sp>
        <p:nvSpPr>
          <p:cNvPr id="155" name="Title 1">
            <a:extLst>
              <a:ext uri="{FF2B5EF4-FFF2-40B4-BE49-F238E27FC236}">
                <a16:creationId xmlns:a16="http://schemas.microsoft.com/office/drawing/2014/main" id="{6F093A3C-EB5E-4FDD-BD6D-1529F9DA5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553998"/>
          </a:xfrm>
        </p:spPr>
        <p:txBody>
          <a:bodyPr vert="horz" wrap="square" lIns="146304" tIns="91440" rIns="146304" bIns="91440" rtlCol="0" anchor="t">
            <a:noAutofit/>
          </a:bodyPr>
          <a:lstStyle/>
          <a:p>
            <a:pPr defTabSz="914400">
              <a:lnSpc>
                <a:spcPct val="100000"/>
              </a:lnSpc>
            </a:pPr>
            <a:r>
              <a:rPr lang="en-US" sz="2800" cap="all" spc="500" dirty="0">
                <a:solidFill>
                  <a:srgbClr val="0078D7"/>
                </a:solidFill>
                <a:latin typeface="Segoe UI Semilight" charset="0"/>
                <a:cs typeface="Segoe UI Semilight" charset="0"/>
              </a:rPr>
              <a:t>Data engineering - Modern DW for SaaS Apps</a:t>
            </a:r>
          </a:p>
        </p:txBody>
      </p:sp>
      <p:sp>
        <p:nvSpPr>
          <p:cNvPr id="157" name="Arrow: Left-Right 156">
            <a:extLst>
              <a:ext uri="{FF2B5EF4-FFF2-40B4-BE49-F238E27FC236}">
                <a16:creationId xmlns:a16="http://schemas.microsoft.com/office/drawing/2014/main" id="{0F3FB124-4C3B-4C58-87FC-C9D777D71D3F}"/>
              </a:ext>
            </a:extLst>
          </p:cNvPr>
          <p:cNvSpPr/>
          <p:nvPr/>
        </p:nvSpPr>
        <p:spPr>
          <a:xfrm>
            <a:off x="234068" y="5924912"/>
            <a:ext cx="11183404" cy="889224"/>
          </a:xfrm>
          <a:prstGeom prst="leftRightArrow">
            <a:avLst/>
          </a:prstGeom>
          <a:solidFill>
            <a:srgbClr val="00B0F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endParaRPr lang="en-US" sz="1765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83E0CDEC-3FF4-4C6D-A38F-41B2F9DFD677}"/>
              </a:ext>
            </a:extLst>
          </p:cNvPr>
          <p:cNvSpPr txBox="1"/>
          <p:nvPr/>
        </p:nvSpPr>
        <p:spPr>
          <a:xfrm>
            <a:off x="574936" y="6045915"/>
            <a:ext cx="10913173" cy="504259"/>
          </a:xfrm>
          <a:prstGeom prst="rect">
            <a:avLst/>
          </a:prstGeom>
          <a:noFill/>
        </p:spPr>
        <p:txBody>
          <a:bodyPr wrap="square" lIns="274281" tIns="182854" rIns="182854" rtlCol="0">
            <a:spAutoFit/>
          </a:bodyPr>
          <a:lstStyle/>
          <a:p>
            <a:pPr defTabSz="914367">
              <a:defRPr/>
            </a:pPr>
            <a:r>
              <a:rPr lang="en-US" b="1" dirty="0">
                <a:solidFill>
                  <a:srgbClr val="FFC000"/>
                </a:solidFill>
                <a:latin typeface="Segoe UI"/>
              </a:rPr>
              <a:t>AZURE DATA FACTORY </a:t>
            </a:r>
            <a:r>
              <a:rPr lang="en-US" b="1" dirty="0">
                <a:solidFill>
                  <a:srgbClr val="002050"/>
                </a:solidFill>
                <a:latin typeface="Segoe UI"/>
              </a:rPr>
              <a:t>ORCHESTRATES DATA PIPELINE ACTIVITY WORKFLOW &amp; SCHEDULING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3C7F1F2-877E-4C8C-89ED-F9EA92C500A2}"/>
              </a:ext>
            </a:extLst>
          </p:cNvPr>
          <p:cNvSpPr/>
          <p:nvPr/>
        </p:nvSpPr>
        <p:spPr bwMode="auto">
          <a:xfrm>
            <a:off x="8876002" y="4181263"/>
            <a:ext cx="1039148" cy="616657"/>
          </a:xfrm>
          <a:prstGeom prst="ellipse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EA93637-E540-4C89-ADD5-7280F901C9EF}"/>
              </a:ext>
            </a:extLst>
          </p:cNvPr>
          <p:cNvSpPr/>
          <p:nvPr/>
        </p:nvSpPr>
        <p:spPr>
          <a:xfrm>
            <a:off x="8875764" y="4362660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osmosDB</a:t>
            </a:r>
          </a:p>
        </p:txBody>
      </p: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D9318CF2-0A7F-43C5-87AC-17BCAE442A94}"/>
              </a:ext>
            </a:extLst>
          </p:cNvPr>
          <p:cNvCxnSpPr>
            <a:cxnSpLocks/>
          </p:cNvCxnSpPr>
          <p:nvPr/>
        </p:nvCxnSpPr>
        <p:spPr>
          <a:xfrm>
            <a:off x="9364306" y="4843871"/>
            <a:ext cx="0" cy="30434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1E59E7D-FDA3-4EA9-A4EA-D4E00D6F9C28}"/>
              </a:ext>
            </a:extLst>
          </p:cNvPr>
          <p:cNvSpPr/>
          <p:nvPr/>
        </p:nvSpPr>
        <p:spPr bwMode="auto">
          <a:xfrm>
            <a:off x="8988152" y="5187649"/>
            <a:ext cx="886854" cy="502982"/>
          </a:xfrm>
          <a:prstGeom prst="rect">
            <a:avLst/>
          </a:prstGeom>
          <a:noFill/>
          <a:ln w="12700">
            <a:solidFill>
              <a:schemeClr val="tx1"/>
            </a:solidFill>
            <a:beve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1D559636-334A-4433-AE6B-A7EFCCF1E072}"/>
              </a:ext>
            </a:extLst>
          </p:cNvPr>
          <p:cNvSpPr/>
          <p:nvPr/>
        </p:nvSpPr>
        <p:spPr>
          <a:xfrm>
            <a:off x="8908038" y="5285276"/>
            <a:ext cx="1047083" cy="25391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aaS Ap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F95F83-D8B1-49DB-A155-7885D1756A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136" y="3074760"/>
            <a:ext cx="1627773" cy="1347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BF41E3-C916-42DB-BF1F-A2F62E7B3F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8152" y="3958971"/>
            <a:ext cx="795521" cy="41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29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7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2100566" y="1255632"/>
            <a:ext cx="8458773" cy="434434"/>
            <a:chOff x="821550" y="364537"/>
            <a:chExt cx="7313575" cy="442424"/>
          </a:xfrm>
          <a:solidFill>
            <a:schemeClr val="tx2"/>
          </a:solidFill>
        </p:grpSpPr>
        <p:sp>
          <p:nvSpPr>
            <p:cNvPr id="38" name="Pentagon 63"/>
            <p:cNvSpPr/>
            <p:nvPr/>
          </p:nvSpPr>
          <p:spPr bwMode="auto">
            <a:xfrm>
              <a:off x="4179199" y="364537"/>
              <a:ext cx="3955926" cy="442424"/>
            </a:xfrm>
            <a:prstGeom prst="homePlat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34" marR="0" lvl="0" indent="-342834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 3" panose="05040102010807070707" pitchFamily="18" charset="2"/>
                <a:buChar char="Æ"/>
                <a:tabLst/>
                <a:defRPr/>
              </a:pPr>
              <a:endPara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9" name="Pentagon 64"/>
            <p:cNvSpPr/>
            <p:nvPr/>
          </p:nvSpPr>
          <p:spPr bwMode="auto">
            <a:xfrm flipH="1">
              <a:off x="821550" y="364537"/>
              <a:ext cx="3357649" cy="442424"/>
            </a:xfrm>
            <a:prstGeom prst="homePlat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834" marR="0" lvl="0" indent="-342834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 3" panose="05040102010807070707" pitchFamily="18" charset="2"/>
                <a:buChar char="Æ"/>
                <a:tabLst/>
                <a:defRPr/>
              </a:pPr>
              <a:endPara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982392" y="461920"/>
              <a:ext cx="2481944" cy="272830"/>
            </a:xfrm>
            <a:prstGeom prst="rect">
              <a:avLst/>
            </a:prstGeom>
            <a:grpFill/>
          </p:spPr>
          <p:txBody>
            <a:bodyPr wrap="square" lIns="182854" tIns="146284" rIns="182854" bIns="146284" rtlCol="0" anchor="ctr">
              <a:noAutofit/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CONTROL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515157" y="451240"/>
              <a:ext cx="3423678" cy="294190"/>
            </a:xfrm>
            <a:prstGeom prst="rect">
              <a:avLst/>
            </a:prstGeom>
            <a:grpFill/>
          </p:spPr>
          <p:txBody>
            <a:bodyPr wrap="square" lIns="182854" tIns="146284" rIns="182854" bIns="146284" rtlCol="0" anchor="ctr">
              <a:noAutofit/>
            </a:bodyPr>
            <a:lstStyle/>
            <a:p>
              <a:pPr marL="0" marR="0" lvl="0" indent="0" algn="r" defTabSz="914225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EASE OF USE</a:t>
              </a:r>
            </a:p>
          </p:txBody>
        </p:sp>
      </p:grpSp>
      <p:sp>
        <p:nvSpPr>
          <p:cNvPr id="12" name="Rectangle 11"/>
          <p:cNvSpPr/>
          <p:nvPr/>
        </p:nvSpPr>
        <p:spPr>
          <a:xfrm>
            <a:off x="6202873" y="4772233"/>
            <a:ext cx="1686618" cy="4402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zure Data Lake Analytic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314824" y="5063242"/>
            <a:ext cx="7754440" cy="1136488"/>
            <a:chOff x="2657138" y="4258826"/>
            <a:chExt cx="7754440" cy="1136488"/>
          </a:xfrm>
        </p:grpSpPr>
        <p:sp>
          <p:nvSpPr>
            <p:cNvPr id="13" name="Rectangle 12"/>
            <p:cNvSpPr/>
            <p:nvPr/>
          </p:nvSpPr>
          <p:spPr>
            <a:xfrm>
              <a:off x="2657138" y="4258826"/>
              <a:ext cx="7754439" cy="54864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Data Lake Store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657138" y="4846674"/>
              <a:ext cx="7754440" cy="54864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Storage</a:t>
              </a:r>
            </a:p>
          </p:txBody>
        </p:sp>
      </p:grpSp>
      <p:sp>
        <p:nvSpPr>
          <p:cNvPr id="16" name="Rectangle 15"/>
          <p:cNvSpPr/>
          <p:nvPr/>
        </p:nvSpPr>
        <p:spPr>
          <a:xfrm>
            <a:off x="2197134" y="4965845"/>
            <a:ext cx="7986092" cy="1347809"/>
          </a:xfrm>
          <a:prstGeom prst="rect">
            <a:avLst/>
          </a:prstGeom>
          <a:noFill/>
          <a:ln w="9525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001649" y="1654792"/>
            <a:ext cx="8450889" cy="3137331"/>
            <a:chOff x="2374847" y="818443"/>
            <a:chExt cx="8450889" cy="3137331"/>
          </a:xfrm>
        </p:grpSpPr>
        <p:sp>
          <p:nvSpPr>
            <p:cNvPr id="4" name="Rectangle 3"/>
            <p:cNvSpPr/>
            <p:nvPr/>
          </p:nvSpPr>
          <p:spPr>
            <a:xfrm>
              <a:off x="2657138" y="2370011"/>
              <a:ext cx="1642118" cy="115092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3152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ny Hadoop technology, any distribution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4513033" y="1747770"/>
              <a:ext cx="1818806" cy="177960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3152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Workload optimized, managed clusters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8572870" y="869316"/>
              <a:ext cx="1871899" cy="265551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3152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ata Engineering in 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Job-as-a-service model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374847" y="2284265"/>
              <a:ext cx="2099448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Marketplac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HDP | CDH |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apR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8289135" y="818443"/>
              <a:ext cx="2536601" cy="5232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Data Lak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nalytics</a:t>
              </a:r>
            </a:p>
          </p:txBody>
        </p:sp>
        <p:sp>
          <p:nvSpPr>
            <p:cNvPr id="48" name="Rectangle 47"/>
            <p:cNvSpPr/>
            <p:nvPr/>
          </p:nvSpPr>
          <p:spPr bwMode="auto">
            <a:xfrm>
              <a:off x="2389955" y="3498344"/>
              <a:ext cx="2066544" cy="43522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IaaS Clusters</a:t>
              </a: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5407710" y="3520551"/>
              <a:ext cx="2066544" cy="43522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Managed Clusters</a:t>
              </a: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8475547" y="3520551"/>
              <a:ext cx="2066544" cy="43522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Big Data as-a-service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4580382" y="1742783"/>
              <a:ext cx="1684108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9144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HDInsight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A47707E-4F5F-4018-9010-548F5A4DBD98}"/>
                </a:ext>
              </a:extLst>
            </p:cNvPr>
            <p:cNvSpPr/>
            <p:nvPr/>
          </p:nvSpPr>
          <p:spPr>
            <a:xfrm>
              <a:off x="6540287" y="1270504"/>
              <a:ext cx="1818806" cy="22389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3152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rictionless &amp; Optimized Spark cluster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67A21CE-8837-49AC-9D4B-E0F089F05E09}"/>
                </a:ext>
              </a:extLst>
            </p:cNvPr>
            <p:cNvSpPr/>
            <p:nvPr/>
          </p:nvSpPr>
          <p:spPr>
            <a:xfrm>
              <a:off x="6611452" y="1242868"/>
              <a:ext cx="1684108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9144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zure 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atabrick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 rot="16200000">
            <a:off x="9780196" y="5325818"/>
            <a:ext cx="134780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BIG DATA STORAGE</a:t>
            </a:r>
          </a:p>
        </p:txBody>
      </p:sp>
      <p:sp>
        <p:nvSpPr>
          <p:cNvPr id="24" name="TextBox 23"/>
          <p:cNvSpPr txBox="1"/>
          <p:nvPr/>
        </p:nvSpPr>
        <p:spPr>
          <a:xfrm rot="16200000">
            <a:off x="9176921" y="3280074"/>
            <a:ext cx="2554357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BIG DATA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ANALYTIC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197134" y="1751332"/>
            <a:ext cx="7986092" cy="3095005"/>
          </a:xfrm>
          <a:prstGeom prst="rect">
            <a:avLst/>
          </a:prstGeom>
          <a:noFill/>
          <a:ln w="9525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Pentagon 63"/>
          <p:cNvSpPr/>
          <p:nvPr/>
        </p:nvSpPr>
        <p:spPr bwMode="auto">
          <a:xfrm rot="16200000">
            <a:off x="229897" y="3009789"/>
            <a:ext cx="3238661" cy="434434"/>
          </a:xfrm>
          <a:prstGeom prst="homePlat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 Semibold" panose="020B0702040204020203" pitchFamily="34" charset="0"/>
              </a:rPr>
              <a:t>Reduced Administration</a:t>
            </a:r>
          </a:p>
        </p:txBody>
      </p:sp>
      <p:sp>
        <p:nvSpPr>
          <p:cNvPr id="27" name="Title 3"/>
          <p:cNvSpPr txBox="1">
            <a:spLocks/>
          </p:cNvSpPr>
          <p:nvPr/>
        </p:nvSpPr>
        <p:spPr>
          <a:xfrm>
            <a:off x="93455" y="-72448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 fontScale="97500"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-100" normalizeH="0" baseline="0" noProof="0" dirty="0">
              <a:ln w="3175"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34F770F-8BD8-40AF-91FF-015B10FCBE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POSITIONING THE DIFFERENT BIG DATA SOLUTIONS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A2DB137-D386-461C-84A4-CBC41773D1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47" y="5129697"/>
            <a:ext cx="451579" cy="451579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5FECA09-3268-4F4D-B90C-3CF0F10B4BD3}"/>
              </a:ext>
            </a:extLst>
          </p:cNvPr>
          <p:cNvSpPr/>
          <p:nvPr/>
        </p:nvSpPr>
        <p:spPr>
          <a:xfrm>
            <a:off x="3699011" y="5783263"/>
            <a:ext cx="476250" cy="409575"/>
          </a:xfrm>
          <a:custGeom>
            <a:avLst/>
            <a:gdLst/>
            <a:ahLst/>
            <a:cxnLst/>
            <a:rect l="0" t="0" r="0" b="0"/>
            <a:pathLst>
              <a:path w="476250" h="409575">
                <a:moveTo>
                  <a:pt x="407670" y="160972"/>
                </a:moveTo>
                <a:lnTo>
                  <a:pt x="376238" y="160972"/>
                </a:lnTo>
                <a:lnTo>
                  <a:pt x="376238" y="14288"/>
                </a:lnTo>
                <a:cubicBezTo>
                  <a:pt x="376238" y="6668"/>
                  <a:pt x="369570" y="0"/>
                  <a:pt x="361950" y="0"/>
                </a:cubicBezTo>
                <a:lnTo>
                  <a:pt x="14288" y="0"/>
                </a:lnTo>
                <a:cubicBezTo>
                  <a:pt x="6668" y="0"/>
                  <a:pt x="0" y="6668"/>
                  <a:pt x="0" y="14288"/>
                </a:cubicBezTo>
                <a:lnTo>
                  <a:pt x="0" y="306705"/>
                </a:lnTo>
                <a:cubicBezTo>
                  <a:pt x="0" y="314325"/>
                  <a:pt x="6668" y="320993"/>
                  <a:pt x="14288" y="320993"/>
                </a:cubicBezTo>
                <a:lnTo>
                  <a:pt x="211455" y="320993"/>
                </a:lnTo>
                <a:lnTo>
                  <a:pt x="262890" y="410528"/>
                </a:lnTo>
                <a:lnTo>
                  <a:pt x="406718" y="410528"/>
                </a:lnTo>
                <a:lnTo>
                  <a:pt x="478155" y="285750"/>
                </a:lnTo>
                <a:lnTo>
                  <a:pt x="407670" y="160972"/>
                </a:lnTo>
                <a:close/>
                <a:moveTo>
                  <a:pt x="279083" y="83820"/>
                </a:moveTo>
                <a:lnTo>
                  <a:pt x="348615" y="83820"/>
                </a:lnTo>
                <a:lnTo>
                  <a:pt x="348615" y="125730"/>
                </a:lnTo>
                <a:lnTo>
                  <a:pt x="279083" y="125730"/>
                </a:lnTo>
                <a:lnTo>
                  <a:pt x="279083" y="83820"/>
                </a:lnTo>
                <a:close/>
                <a:moveTo>
                  <a:pt x="348615" y="140018"/>
                </a:moveTo>
                <a:lnTo>
                  <a:pt x="348615" y="160972"/>
                </a:lnTo>
                <a:lnTo>
                  <a:pt x="279083" y="160972"/>
                </a:lnTo>
                <a:lnTo>
                  <a:pt x="279083" y="140018"/>
                </a:lnTo>
                <a:lnTo>
                  <a:pt x="348615" y="140018"/>
                </a:lnTo>
                <a:close/>
                <a:moveTo>
                  <a:pt x="195263" y="83820"/>
                </a:moveTo>
                <a:lnTo>
                  <a:pt x="264795" y="83820"/>
                </a:lnTo>
                <a:lnTo>
                  <a:pt x="264795" y="125730"/>
                </a:lnTo>
                <a:lnTo>
                  <a:pt x="195263" y="125730"/>
                </a:lnTo>
                <a:lnTo>
                  <a:pt x="195263" y="83820"/>
                </a:lnTo>
                <a:close/>
                <a:moveTo>
                  <a:pt x="195263" y="140018"/>
                </a:moveTo>
                <a:lnTo>
                  <a:pt x="264795" y="140018"/>
                </a:lnTo>
                <a:lnTo>
                  <a:pt x="264795" y="160972"/>
                </a:lnTo>
                <a:lnTo>
                  <a:pt x="262890" y="160972"/>
                </a:lnTo>
                <a:lnTo>
                  <a:pt x="250508" y="181927"/>
                </a:lnTo>
                <a:lnTo>
                  <a:pt x="194310" y="181927"/>
                </a:lnTo>
                <a:lnTo>
                  <a:pt x="194310" y="140018"/>
                </a:lnTo>
                <a:close/>
                <a:moveTo>
                  <a:pt x="195263" y="195263"/>
                </a:moveTo>
                <a:lnTo>
                  <a:pt x="242888" y="195263"/>
                </a:lnTo>
                <a:lnTo>
                  <a:pt x="219075" y="237172"/>
                </a:lnTo>
                <a:lnTo>
                  <a:pt x="195263" y="237172"/>
                </a:lnTo>
                <a:lnTo>
                  <a:pt x="195263" y="195263"/>
                </a:lnTo>
                <a:close/>
                <a:moveTo>
                  <a:pt x="211455" y="250508"/>
                </a:moveTo>
                <a:lnTo>
                  <a:pt x="195263" y="278130"/>
                </a:lnTo>
                <a:lnTo>
                  <a:pt x="195263" y="250508"/>
                </a:lnTo>
                <a:lnTo>
                  <a:pt x="211455" y="250508"/>
                </a:lnTo>
                <a:close/>
                <a:moveTo>
                  <a:pt x="98107" y="292418"/>
                </a:moveTo>
                <a:lnTo>
                  <a:pt x="28575" y="292418"/>
                </a:lnTo>
                <a:lnTo>
                  <a:pt x="28575" y="250508"/>
                </a:lnTo>
                <a:lnTo>
                  <a:pt x="98107" y="250508"/>
                </a:lnTo>
                <a:lnTo>
                  <a:pt x="98107" y="292418"/>
                </a:lnTo>
                <a:close/>
                <a:moveTo>
                  <a:pt x="98107" y="237172"/>
                </a:moveTo>
                <a:lnTo>
                  <a:pt x="28575" y="237172"/>
                </a:lnTo>
                <a:lnTo>
                  <a:pt x="28575" y="195263"/>
                </a:lnTo>
                <a:lnTo>
                  <a:pt x="98107" y="195263"/>
                </a:lnTo>
                <a:lnTo>
                  <a:pt x="98107" y="237172"/>
                </a:lnTo>
                <a:close/>
                <a:moveTo>
                  <a:pt x="98107" y="180975"/>
                </a:moveTo>
                <a:lnTo>
                  <a:pt x="28575" y="180975"/>
                </a:lnTo>
                <a:lnTo>
                  <a:pt x="28575" y="139065"/>
                </a:lnTo>
                <a:lnTo>
                  <a:pt x="98107" y="139065"/>
                </a:lnTo>
                <a:lnTo>
                  <a:pt x="98107" y="180975"/>
                </a:lnTo>
                <a:close/>
                <a:moveTo>
                  <a:pt x="98107" y="125730"/>
                </a:moveTo>
                <a:lnTo>
                  <a:pt x="28575" y="125730"/>
                </a:lnTo>
                <a:lnTo>
                  <a:pt x="28575" y="83820"/>
                </a:lnTo>
                <a:lnTo>
                  <a:pt x="98107" y="83820"/>
                </a:lnTo>
                <a:lnTo>
                  <a:pt x="98107" y="125730"/>
                </a:lnTo>
                <a:close/>
                <a:moveTo>
                  <a:pt x="181928" y="292418"/>
                </a:moveTo>
                <a:lnTo>
                  <a:pt x="112395" y="292418"/>
                </a:lnTo>
                <a:lnTo>
                  <a:pt x="112395" y="250508"/>
                </a:lnTo>
                <a:lnTo>
                  <a:pt x="181928" y="250508"/>
                </a:lnTo>
                <a:lnTo>
                  <a:pt x="181928" y="292418"/>
                </a:lnTo>
                <a:close/>
                <a:moveTo>
                  <a:pt x="181928" y="237172"/>
                </a:moveTo>
                <a:lnTo>
                  <a:pt x="112395" y="237172"/>
                </a:lnTo>
                <a:lnTo>
                  <a:pt x="112395" y="195263"/>
                </a:lnTo>
                <a:lnTo>
                  <a:pt x="181928" y="195263"/>
                </a:lnTo>
                <a:lnTo>
                  <a:pt x="181928" y="237172"/>
                </a:lnTo>
                <a:close/>
                <a:moveTo>
                  <a:pt x="181928" y="180975"/>
                </a:moveTo>
                <a:lnTo>
                  <a:pt x="112395" y="180975"/>
                </a:lnTo>
                <a:lnTo>
                  <a:pt x="112395" y="139065"/>
                </a:lnTo>
                <a:lnTo>
                  <a:pt x="181928" y="139065"/>
                </a:lnTo>
                <a:lnTo>
                  <a:pt x="181928" y="180975"/>
                </a:lnTo>
                <a:close/>
                <a:moveTo>
                  <a:pt x="181928" y="125730"/>
                </a:moveTo>
                <a:lnTo>
                  <a:pt x="112395" y="125730"/>
                </a:lnTo>
                <a:lnTo>
                  <a:pt x="112395" y="83820"/>
                </a:lnTo>
                <a:lnTo>
                  <a:pt x="181928" y="83820"/>
                </a:lnTo>
                <a:lnTo>
                  <a:pt x="181928" y="125730"/>
                </a:lnTo>
                <a:close/>
                <a:moveTo>
                  <a:pt x="195263" y="292418"/>
                </a:moveTo>
                <a:lnTo>
                  <a:pt x="195263" y="291465"/>
                </a:lnTo>
                <a:lnTo>
                  <a:pt x="195263" y="292418"/>
                </a:lnTo>
                <a:lnTo>
                  <a:pt x="195263" y="292418"/>
                </a:lnTo>
                <a:close/>
              </a:path>
            </a:pathLst>
          </a:custGeom>
          <a:solidFill>
            <a:srgbClr val="0078D7"/>
          </a:solidFill>
          <a:ln w="9525" cap="flat">
            <a:noFill/>
            <a:prstDash val="solid"/>
            <a:miter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66793F1-1CA2-4963-9028-C2C1B3830C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75261" y="3239626"/>
            <a:ext cx="594135" cy="594135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DCD0CB27-7762-48ED-B17A-5D731C9E1F4B}"/>
              </a:ext>
            </a:extLst>
          </p:cNvPr>
          <p:cNvGrpSpPr/>
          <p:nvPr/>
        </p:nvGrpSpPr>
        <p:grpSpPr>
          <a:xfrm>
            <a:off x="8844475" y="2768636"/>
            <a:ext cx="725706" cy="737393"/>
            <a:chOff x="8428618" y="2891968"/>
            <a:chExt cx="780290" cy="780290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8DA2030-B520-44B0-9957-FBA4BAA708FE}"/>
                </a:ext>
              </a:extLst>
            </p:cNvPr>
            <p:cNvSpPr/>
            <p:nvPr/>
          </p:nvSpPr>
          <p:spPr bwMode="auto">
            <a:xfrm>
              <a:off x="8539085" y="2982852"/>
              <a:ext cx="567688" cy="588659"/>
            </a:xfrm>
            <a:prstGeom prst="roundRect">
              <a:avLst>
                <a:gd name="adj" fmla="val 6789"/>
              </a:avLst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33F94691-10A2-43A3-848F-12844A090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28618" y="2891968"/>
              <a:ext cx="780290" cy="780290"/>
            </a:xfrm>
            <a:prstGeom prst="rect">
              <a:avLst/>
            </a:prstGeom>
          </p:spPr>
        </p:pic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9441363C-A32C-4657-9D55-038B651E9A9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93322" y="3725396"/>
            <a:ext cx="309765" cy="30976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22BA05C-6146-4814-A942-67A1298C2BA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309" y="2914201"/>
            <a:ext cx="825877" cy="825877"/>
          </a:xfrm>
          <a:prstGeom prst="rect">
            <a:avLst/>
          </a:prstGeom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158760C6-E8FD-4864-B22A-6DC5DD5500C6}"/>
              </a:ext>
            </a:extLst>
          </p:cNvPr>
          <p:cNvSpPr txBox="1">
            <a:spLocks/>
          </p:cNvSpPr>
          <p:nvPr/>
        </p:nvSpPr>
        <p:spPr>
          <a:xfrm>
            <a:off x="268080" y="277696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rm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KNOWING THE VARIOUS BIG DATA SOLUTIONS</a:t>
            </a:r>
          </a:p>
        </p:txBody>
      </p:sp>
    </p:spTree>
    <p:extLst>
      <p:ext uri="{BB962C8B-B14F-4D97-AF65-F5344CB8AC3E}">
        <p14:creationId xmlns:p14="http://schemas.microsoft.com/office/powerpoint/2010/main" val="1952034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pache Spar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7901" y="2496502"/>
            <a:ext cx="3660455" cy="289466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110472" lvl="1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park Unifies: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tch Process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ractive SQL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al-time process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 Learn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ep Learn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raph Process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algn="ctr" defTabSz="914192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2000" dirty="0">
                <a:solidFill>
                  <a:schemeClr val="tx2"/>
                </a:solidFill>
                <a:cs typeface="Segoe UI Semilight" panose="020B0402040204020203" pitchFamily="34" charset="0"/>
              </a:rPr>
              <a:t>An unified, open source, parallel, data processing framework for Big Data Analytics 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4572628" y="4062871"/>
            <a:ext cx="6831313" cy="6413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park Core Engine</a:t>
            </a:r>
          </a:p>
        </p:txBody>
      </p:sp>
      <p:sp>
        <p:nvSpPr>
          <p:cNvPr id="9" name="Pentagon 8"/>
          <p:cNvSpPr/>
          <p:nvPr/>
        </p:nvSpPr>
        <p:spPr bwMode="auto">
          <a:xfrm rot="5400000">
            <a:off x="4484520" y="2212903"/>
            <a:ext cx="1939121" cy="1760817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Pentagon 9"/>
          <p:cNvSpPr/>
          <p:nvPr/>
        </p:nvSpPr>
        <p:spPr bwMode="auto">
          <a:xfrm rot="5400000">
            <a:off x="6229251" y="2230034"/>
            <a:ext cx="1939121" cy="1726553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entagon 10"/>
          <p:cNvSpPr/>
          <p:nvPr/>
        </p:nvSpPr>
        <p:spPr bwMode="auto">
          <a:xfrm rot="5400000">
            <a:off x="7960797" y="2225043"/>
            <a:ext cx="1939121" cy="1736538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 rot="5400000">
            <a:off x="9646693" y="2274557"/>
            <a:ext cx="1933112" cy="1628451"/>
          </a:xfrm>
          <a:prstGeom prst="homePlate">
            <a:avLst>
              <a:gd name="adj" fmla="val 53771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36776" y="2120430"/>
            <a:ext cx="1723132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SQL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active</a:t>
            </a:r>
            <a:b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eries</a:t>
            </a:r>
            <a:endParaRPr lang="en-US" sz="1600" i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Structured</a:t>
            </a:r>
            <a:b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</a:t>
            </a:r>
            <a:endParaRPr lang="en-US" sz="1600" i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299331" y="5062603"/>
            <a:ext cx="1749787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MLlib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</a:t>
            </a:r>
            <a:b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587728" y="4855545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arn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7009519" y="4861180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so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9388384" y="4855545"/>
            <a:ext cx="2015557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ndalone Schedul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9DA6CC8-CF47-4A2C-B5A7-C89B85BD5E1C}"/>
              </a:ext>
            </a:extLst>
          </p:cNvPr>
          <p:cNvSpPr txBox="1"/>
          <p:nvPr/>
        </p:nvSpPr>
        <p:spPr>
          <a:xfrm>
            <a:off x="6584689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MLlib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 </a:t>
            </a:r>
            <a:b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169BEF-B5CD-49D3-9118-41329373C8D3}"/>
              </a:ext>
            </a:extLst>
          </p:cNvPr>
          <p:cNvSpPr txBox="1"/>
          <p:nvPr/>
        </p:nvSpPr>
        <p:spPr>
          <a:xfrm>
            <a:off x="8311242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</a:t>
            </a:r>
            <a:b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EF491E-BE97-4CC0-974F-2E7B1641AC6B}"/>
              </a:ext>
            </a:extLst>
          </p:cNvPr>
          <p:cNvSpPr txBox="1"/>
          <p:nvPr/>
        </p:nvSpPr>
        <p:spPr>
          <a:xfrm>
            <a:off x="10014326" y="2087048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X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</a:t>
            </a:r>
            <a:b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ut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E0CA26E-CC6D-4465-8850-A80D40985754}"/>
              </a:ext>
            </a:extLst>
          </p:cNvPr>
          <p:cNvCxnSpPr>
            <a:cxnSpLocks/>
          </p:cNvCxnSpPr>
          <p:nvPr/>
        </p:nvCxnSpPr>
        <p:spPr>
          <a:xfrm>
            <a:off x="6334489" y="2120430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579B420-4FD6-4417-82C6-F6CE74C0ECE5}"/>
              </a:ext>
            </a:extLst>
          </p:cNvPr>
          <p:cNvCxnSpPr>
            <a:cxnSpLocks/>
          </p:cNvCxnSpPr>
          <p:nvPr/>
        </p:nvCxnSpPr>
        <p:spPr>
          <a:xfrm>
            <a:off x="8049561" y="212270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D676F4-57AE-43CD-B95A-6100BDD28241}"/>
              </a:ext>
            </a:extLst>
          </p:cNvPr>
          <p:cNvCxnSpPr>
            <a:cxnSpLocks/>
          </p:cNvCxnSpPr>
          <p:nvPr/>
        </p:nvCxnSpPr>
        <p:spPr>
          <a:xfrm>
            <a:off x="9805578" y="213862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62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53D4614-84FE-458A-A5C4-7EC69222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Databricks - Company Overview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7078970-811E-4B70-9129-6F3064ACC069}"/>
              </a:ext>
            </a:extLst>
          </p:cNvPr>
          <p:cNvSpPr txBox="1">
            <a:spLocks/>
          </p:cNvSpPr>
          <p:nvPr/>
        </p:nvSpPr>
        <p:spPr>
          <a:xfrm>
            <a:off x="269240" y="1437682"/>
            <a:ext cx="5665231" cy="4360641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8579" lvl="1" indent="-448107" defTabSz="895769" fontAlgn="base">
              <a:spcBef>
                <a:spcPts val="588"/>
              </a:spcBef>
              <a:spcAft>
                <a:spcPts val="588"/>
              </a:spcAft>
              <a:buClr>
                <a:srgbClr val="0070C0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Founded in late 2013</a:t>
            </a:r>
          </a:p>
          <a:p>
            <a:pPr marL="558579" lvl="1" indent="-448107" defTabSz="895769" fontAlgn="base">
              <a:spcBef>
                <a:spcPts val="588"/>
              </a:spcBef>
              <a:spcAft>
                <a:spcPts val="588"/>
              </a:spcAft>
              <a:buClr>
                <a:srgbClr val="0070C0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By the creators of Apache Spark, original team from UC Berkeley AMPLab</a:t>
            </a:r>
          </a:p>
          <a:p>
            <a:pPr marL="558579" lvl="1" indent="-448107" defTabSz="895769" fontAlgn="base">
              <a:spcBef>
                <a:spcPts val="588"/>
              </a:spcBef>
              <a:spcAft>
                <a:spcPts val="588"/>
              </a:spcAft>
              <a:buClr>
                <a:srgbClr val="0070C0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Largest code contributor code to Apache Spark</a:t>
            </a:r>
          </a:p>
          <a:p>
            <a:pPr marL="558579" lvl="1" indent="-448107" defTabSz="895769" fontAlgn="base">
              <a:spcBef>
                <a:spcPts val="588"/>
              </a:spcBef>
              <a:buClr>
                <a:srgbClr val="0070C0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Level 2/3 support partnership with</a:t>
            </a:r>
          </a:p>
          <a:p>
            <a:pPr marL="731520" lvl="3" indent="-182880" defTabSz="895769" fontAlgn="base">
              <a:spcBef>
                <a:spcPts val="588"/>
              </a:spcBef>
              <a:buClr>
                <a:srgbClr val="68217A">
                  <a:lumMod val="50000"/>
                </a:srgbClr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Hortonworks</a:t>
            </a:r>
          </a:p>
          <a:p>
            <a:pPr marL="731520" lvl="3" indent="-182880" defTabSz="895769" fontAlgn="base">
              <a:spcBef>
                <a:spcPts val="588"/>
              </a:spcBef>
              <a:buClr>
                <a:srgbClr val="68217A">
                  <a:lumMod val="50000"/>
                </a:srgbClr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MapR</a:t>
            </a:r>
          </a:p>
          <a:p>
            <a:pPr marL="731520" lvl="3" indent="-182880" defTabSz="895769" fontAlgn="base">
              <a:spcBef>
                <a:spcPts val="588"/>
              </a:spcBef>
              <a:buClr>
                <a:srgbClr val="68217A">
                  <a:lumMod val="50000"/>
                </a:srgbClr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DataStax</a:t>
            </a:r>
          </a:p>
          <a:p>
            <a:pPr marL="558579" lvl="1" indent="-448107" defTabSz="895769" fontAlgn="base">
              <a:spcBef>
                <a:spcPts val="588"/>
              </a:spcBef>
              <a:spcAft>
                <a:spcPts val="588"/>
              </a:spcAft>
              <a:buClr>
                <a:srgbClr val="0070C0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Provides </a:t>
            </a: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  <a:hlinkClick r:id="rId3"/>
              </a:rPr>
              <a:t>certifications</a:t>
            </a: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 such as Databricks Certified Application, Databricks Certified Distribution and Databricks Certified Developer</a:t>
            </a:r>
          </a:p>
          <a:p>
            <a:pPr marL="558579" lvl="1" indent="-448107" defTabSz="895769" fontAlgn="base">
              <a:spcBef>
                <a:spcPts val="588"/>
              </a:spcBef>
              <a:spcAft>
                <a:spcPts val="588"/>
              </a:spcAft>
              <a:buClr>
                <a:srgbClr val="0070C0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Main Product: The </a:t>
            </a: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  <a:hlinkClick r:id="rId4"/>
              </a:rPr>
              <a:t>Unified Analytics Platform</a:t>
            </a: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321">
                    <a:srgbClr val="505050"/>
                  </a:gs>
                  <a:gs pos="57000">
                    <a:srgbClr val="505050"/>
                  </a:gs>
                </a:gsLst>
              </a:gradFill>
              <a:cs typeface="Segoe UI" panose="020B0502040204020203" pitchFamily="34" charset="0"/>
            </a:endParaRPr>
          </a:p>
          <a:p>
            <a:pPr marL="558579" lvl="1" indent="-448107" defTabSz="895769" fontAlgn="base">
              <a:spcBef>
                <a:spcPts val="588"/>
              </a:spcBef>
              <a:spcAft>
                <a:spcPts val="588"/>
              </a:spcAft>
              <a:buClr>
                <a:srgbClr val="0070C0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In Oct 2017, introduced </a:t>
            </a: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  <a:hlinkClick r:id="rId5"/>
              </a:rPr>
              <a:t>Databricks Delta</a:t>
            </a: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cs typeface="Segoe UI" panose="020B0502040204020203" pitchFamily="34" charset="0"/>
              </a:rPr>
              <a:t> (currently in private preview).  </a:t>
            </a:r>
          </a:p>
        </p:txBody>
      </p:sp>
      <p:pic>
        <p:nvPicPr>
          <p:cNvPr id="3074" name="Picture 2" descr="Overview of the Databricks Unified Analytics Platform">
            <a:extLst>
              <a:ext uri="{FF2B5EF4-FFF2-40B4-BE49-F238E27FC236}">
                <a16:creationId xmlns:a16="http://schemas.microsoft.com/office/drawing/2014/main" id="{F454C1C8-99E4-4BC7-81DD-A4F1805BB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907" y="1580837"/>
            <a:ext cx="4295931" cy="4295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0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Freeform 4"/>
          <p:cNvSpPr>
            <a:spLocks noChangeArrowheads="1"/>
          </p:cNvSpPr>
          <p:nvPr/>
        </p:nvSpPr>
        <p:spPr bwMode="auto">
          <a:xfrm>
            <a:off x="2740512" y="1355931"/>
            <a:ext cx="6559026" cy="45606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78" name="Freeform 4"/>
          <p:cNvSpPr>
            <a:spLocks noChangeArrowheads="1"/>
          </p:cNvSpPr>
          <p:nvPr/>
        </p:nvSpPr>
        <p:spPr bwMode="auto">
          <a:xfrm>
            <a:off x="2837398" y="4583044"/>
            <a:ext cx="6350000" cy="1214672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640" name="Group 639"/>
          <p:cNvGrpSpPr/>
          <p:nvPr/>
        </p:nvGrpSpPr>
        <p:grpSpPr>
          <a:xfrm>
            <a:off x="3571135" y="4969331"/>
            <a:ext cx="411025" cy="476588"/>
            <a:chOff x="1271588" y="5613400"/>
            <a:chExt cx="517525" cy="600076"/>
          </a:xfrm>
          <a:solidFill>
            <a:schemeClr val="accent1"/>
          </a:solidFill>
        </p:grpSpPr>
        <p:sp>
          <p:nvSpPr>
            <p:cNvPr id="641" name="Freeform 83"/>
            <p:cNvSpPr>
              <a:spLocks noChangeArrowheads="1"/>
            </p:cNvSpPr>
            <p:nvPr/>
          </p:nvSpPr>
          <p:spPr bwMode="auto">
            <a:xfrm>
              <a:off x="1368425" y="5705476"/>
              <a:ext cx="420688" cy="508000"/>
            </a:xfrm>
            <a:custGeom>
              <a:avLst/>
              <a:gdLst>
                <a:gd name="T0" fmla="*/ 934 w 1168"/>
                <a:gd name="T1" fmla="*/ 687 h 1410"/>
                <a:gd name="T2" fmla="*/ 760 w 1168"/>
                <a:gd name="T3" fmla="*/ 687 h 1410"/>
                <a:gd name="T4" fmla="*/ 585 w 1168"/>
                <a:gd name="T5" fmla="*/ 529 h 1410"/>
                <a:gd name="T6" fmla="*/ 416 w 1168"/>
                <a:gd name="T7" fmla="*/ 687 h 1410"/>
                <a:gd name="T8" fmla="*/ 234 w 1168"/>
                <a:gd name="T9" fmla="*/ 687 h 1410"/>
                <a:gd name="T10" fmla="*/ 46 w 1168"/>
                <a:gd name="T11" fmla="*/ 462 h 1410"/>
                <a:gd name="T12" fmla="*/ 234 w 1168"/>
                <a:gd name="T13" fmla="*/ 238 h 1410"/>
                <a:gd name="T14" fmla="*/ 552 w 1168"/>
                <a:gd name="T15" fmla="*/ 238 h 1410"/>
                <a:gd name="T16" fmla="*/ 552 w 1168"/>
                <a:gd name="T17" fmla="*/ 422 h 1410"/>
                <a:gd name="T18" fmla="*/ 1147 w 1168"/>
                <a:gd name="T19" fmla="*/ 422 h 1410"/>
                <a:gd name="T20" fmla="*/ 1147 w 1168"/>
                <a:gd name="T21" fmla="*/ 0 h 1410"/>
                <a:gd name="T22" fmla="*/ 552 w 1168"/>
                <a:gd name="T23" fmla="*/ 0 h 1410"/>
                <a:gd name="T24" fmla="*/ 552 w 1168"/>
                <a:gd name="T25" fmla="*/ 192 h 1410"/>
                <a:gd name="T26" fmla="*/ 234 w 1168"/>
                <a:gd name="T27" fmla="*/ 192 h 1410"/>
                <a:gd name="T28" fmla="*/ 0 w 1168"/>
                <a:gd name="T29" fmla="*/ 459 h 1410"/>
                <a:gd name="T30" fmla="*/ 234 w 1168"/>
                <a:gd name="T31" fmla="*/ 728 h 1410"/>
                <a:gd name="T32" fmla="*/ 420 w 1168"/>
                <a:gd name="T33" fmla="*/ 728 h 1410"/>
                <a:gd name="T34" fmla="*/ 593 w 1168"/>
                <a:gd name="T35" fmla="*/ 873 h 1410"/>
                <a:gd name="T36" fmla="*/ 760 w 1168"/>
                <a:gd name="T37" fmla="*/ 728 h 1410"/>
                <a:gd name="T38" fmla="*/ 934 w 1168"/>
                <a:gd name="T39" fmla="*/ 728 h 1410"/>
                <a:gd name="T40" fmla="*/ 1121 w 1168"/>
                <a:gd name="T41" fmla="*/ 954 h 1410"/>
                <a:gd name="T42" fmla="*/ 1121 w 1168"/>
                <a:gd name="T43" fmla="*/ 962 h 1410"/>
                <a:gd name="T44" fmla="*/ 934 w 1168"/>
                <a:gd name="T45" fmla="*/ 1186 h 1410"/>
                <a:gd name="T46" fmla="*/ 615 w 1168"/>
                <a:gd name="T47" fmla="*/ 1186 h 1410"/>
                <a:gd name="T48" fmla="*/ 615 w 1168"/>
                <a:gd name="T49" fmla="*/ 997 h 1410"/>
                <a:gd name="T50" fmla="*/ 22 w 1168"/>
                <a:gd name="T51" fmla="*/ 997 h 1410"/>
                <a:gd name="T52" fmla="*/ 22 w 1168"/>
                <a:gd name="T53" fmla="*/ 1409 h 1410"/>
                <a:gd name="T54" fmla="*/ 615 w 1168"/>
                <a:gd name="T55" fmla="*/ 1409 h 1410"/>
                <a:gd name="T56" fmla="*/ 615 w 1168"/>
                <a:gd name="T57" fmla="*/ 1236 h 1410"/>
                <a:gd name="T58" fmla="*/ 934 w 1168"/>
                <a:gd name="T59" fmla="*/ 1236 h 1410"/>
                <a:gd name="T60" fmla="*/ 1167 w 1168"/>
                <a:gd name="T61" fmla="*/ 967 h 1410"/>
                <a:gd name="T62" fmla="*/ 1167 w 1168"/>
                <a:gd name="T63" fmla="*/ 960 h 1410"/>
                <a:gd name="T64" fmla="*/ 934 w 1168"/>
                <a:gd name="T65" fmla="*/ 687 h 1410"/>
                <a:gd name="T66" fmla="*/ 1103 w 1168"/>
                <a:gd name="T67" fmla="*/ 376 h 1410"/>
                <a:gd name="T68" fmla="*/ 1026 w 1168"/>
                <a:gd name="T69" fmla="*/ 376 h 1410"/>
                <a:gd name="T70" fmla="*/ 1026 w 1168"/>
                <a:gd name="T71" fmla="*/ 46 h 1410"/>
                <a:gd name="T72" fmla="*/ 1103 w 1168"/>
                <a:gd name="T73" fmla="*/ 46 h 1410"/>
                <a:gd name="T74" fmla="*/ 1103 w 1168"/>
                <a:gd name="T75" fmla="*/ 376 h 1410"/>
                <a:gd name="T76" fmla="*/ 980 w 1168"/>
                <a:gd name="T77" fmla="*/ 44 h 1410"/>
                <a:gd name="T78" fmla="*/ 980 w 1168"/>
                <a:gd name="T79" fmla="*/ 376 h 1410"/>
                <a:gd name="T80" fmla="*/ 596 w 1168"/>
                <a:gd name="T81" fmla="*/ 376 h 1410"/>
                <a:gd name="T82" fmla="*/ 596 w 1168"/>
                <a:gd name="T83" fmla="*/ 44 h 1410"/>
                <a:gd name="T84" fmla="*/ 980 w 1168"/>
                <a:gd name="T85" fmla="*/ 44 h 1410"/>
                <a:gd name="T86" fmla="*/ 574 w 1168"/>
                <a:gd name="T87" fmla="*/ 798 h 1410"/>
                <a:gd name="T88" fmla="*/ 510 w 1168"/>
                <a:gd name="T89" fmla="*/ 746 h 1410"/>
                <a:gd name="T90" fmla="*/ 538 w 1168"/>
                <a:gd name="T91" fmla="*/ 711 h 1410"/>
                <a:gd name="T92" fmla="*/ 569 w 1168"/>
                <a:gd name="T93" fmla="*/ 737 h 1410"/>
                <a:gd name="T94" fmla="*/ 644 w 1168"/>
                <a:gd name="T95" fmla="*/ 643 h 1410"/>
                <a:gd name="T96" fmla="*/ 679 w 1168"/>
                <a:gd name="T97" fmla="*/ 669 h 1410"/>
                <a:gd name="T98" fmla="*/ 574 w 1168"/>
                <a:gd name="T99" fmla="*/ 798 h 1410"/>
                <a:gd name="T100" fmla="*/ 68 w 1168"/>
                <a:gd name="T101" fmla="*/ 1045 h 1410"/>
                <a:gd name="T102" fmla="*/ 145 w 1168"/>
                <a:gd name="T103" fmla="*/ 1045 h 1410"/>
                <a:gd name="T104" fmla="*/ 145 w 1168"/>
                <a:gd name="T105" fmla="*/ 1372 h 1410"/>
                <a:gd name="T106" fmla="*/ 68 w 1168"/>
                <a:gd name="T107" fmla="*/ 1372 h 1410"/>
                <a:gd name="T108" fmla="*/ 68 w 1168"/>
                <a:gd name="T109" fmla="*/ 1045 h 1410"/>
                <a:gd name="T110" fmla="*/ 573 w 1168"/>
                <a:gd name="T111" fmla="*/ 1372 h 1410"/>
                <a:gd name="T112" fmla="*/ 188 w 1168"/>
                <a:gd name="T113" fmla="*/ 1372 h 1410"/>
                <a:gd name="T114" fmla="*/ 188 w 1168"/>
                <a:gd name="T115" fmla="*/ 1045 h 1410"/>
                <a:gd name="T116" fmla="*/ 573 w 1168"/>
                <a:gd name="T117" fmla="*/ 1045 h 1410"/>
                <a:gd name="T118" fmla="*/ 573 w 1168"/>
                <a:gd name="T119" fmla="*/ 1372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8" h="1410">
                  <a:moveTo>
                    <a:pt x="934" y="687"/>
                  </a:moveTo>
                  <a:lnTo>
                    <a:pt x="760" y="687"/>
                  </a:lnTo>
                  <a:cubicBezTo>
                    <a:pt x="751" y="599"/>
                    <a:pt x="676" y="529"/>
                    <a:pt x="585" y="529"/>
                  </a:cubicBezTo>
                  <a:cubicBezTo>
                    <a:pt x="497" y="532"/>
                    <a:pt x="423" y="599"/>
                    <a:pt x="416" y="687"/>
                  </a:cubicBezTo>
                  <a:lnTo>
                    <a:pt x="234" y="687"/>
                  </a:lnTo>
                  <a:cubicBezTo>
                    <a:pt x="129" y="687"/>
                    <a:pt x="46" y="586"/>
                    <a:pt x="46" y="462"/>
                  </a:cubicBezTo>
                  <a:cubicBezTo>
                    <a:pt x="46" y="339"/>
                    <a:pt x="132" y="238"/>
                    <a:pt x="234" y="238"/>
                  </a:cubicBezTo>
                  <a:lnTo>
                    <a:pt x="552" y="238"/>
                  </a:lnTo>
                  <a:lnTo>
                    <a:pt x="552" y="422"/>
                  </a:lnTo>
                  <a:lnTo>
                    <a:pt x="1147" y="422"/>
                  </a:lnTo>
                  <a:lnTo>
                    <a:pt x="1147" y="0"/>
                  </a:lnTo>
                  <a:lnTo>
                    <a:pt x="552" y="0"/>
                  </a:lnTo>
                  <a:lnTo>
                    <a:pt x="552" y="192"/>
                  </a:lnTo>
                  <a:lnTo>
                    <a:pt x="234" y="192"/>
                  </a:lnTo>
                  <a:cubicBezTo>
                    <a:pt x="105" y="192"/>
                    <a:pt x="0" y="311"/>
                    <a:pt x="0" y="459"/>
                  </a:cubicBezTo>
                  <a:cubicBezTo>
                    <a:pt x="0" y="607"/>
                    <a:pt x="105" y="728"/>
                    <a:pt x="234" y="728"/>
                  </a:cubicBezTo>
                  <a:lnTo>
                    <a:pt x="420" y="728"/>
                  </a:lnTo>
                  <a:cubicBezTo>
                    <a:pt x="433" y="811"/>
                    <a:pt x="504" y="875"/>
                    <a:pt x="593" y="873"/>
                  </a:cubicBezTo>
                  <a:cubicBezTo>
                    <a:pt x="679" y="870"/>
                    <a:pt x="746" y="809"/>
                    <a:pt x="760" y="728"/>
                  </a:cubicBezTo>
                  <a:lnTo>
                    <a:pt x="934" y="728"/>
                  </a:lnTo>
                  <a:cubicBezTo>
                    <a:pt x="1039" y="728"/>
                    <a:pt x="1121" y="831"/>
                    <a:pt x="1121" y="954"/>
                  </a:cubicBezTo>
                  <a:lnTo>
                    <a:pt x="1121" y="962"/>
                  </a:lnTo>
                  <a:cubicBezTo>
                    <a:pt x="1121" y="1085"/>
                    <a:pt x="1037" y="1186"/>
                    <a:pt x="934" y="1186"/>
                  </a:cubicBezTo>
                  <a:lnTo>
                    <a:pt x="615" y="1186"/>
                  </a:lnTo>
                  <a:lnTo>
                    <a:pt x="615" y="997"/>
                  </a:lnTo>
                  <a:lnTo>
                    <a:pt x="22" y="997"/>
                  </a:lnTo>
                  <a:lnTo>
                    <a:pt x="22" y="1409"/>
                  </a:lnTo>
                  <a:lnTo>
                    <a:pt x="615" y="1409"/>
                  </a:lnTo>
                  <a:lnTo>
                    <a:pt x="615" y="1236"/>
                  </a:lnTo>
                  <a:lnTo>
                    <a:pt x="934" y="1236"/>
                  </a:lnTo>
                  <a:cubicBezTo>
                    <a:pt x="1062" y="1236"/>
                    <a:pt x="1167" y="1115"/>
                    <a:pt x="1167" y="967"/>
                  </a:cubicBezTo>
                  <a:lnTo>
                    <a:pt x="1167" y="960"/>
                  </a:lnTo>
                  <a:cubicBezTo>
                    <a:pt x="1167" y="809"/>
                    <a:pt x="1062" y="687"/>
                    <a:pt x="934" y="687"/>
                  </a:cubicBezTo>
                  <a:close/>
                  <a:moveTo>
                    <a:pt x="1103" y="376"/>
                  </a:moveTo>
                  <a:lnTo>
                    <a:pt x="1026" y="376"/>
                  </a:lnTo>
                  <a:lnTo>
                    <a:pt x="1026" y="46"/>
                  </a:lnTo>
                  <a:lnTo>
                    <a:pt x="1103" y="46"/>
                  </a:lnTo>
                  <a:lnTo>
                    <a:pt x="1103" y="376"/>
                  </a:lnTo>
                  <a:close/>
                  <a:moveTo>
                    <a:pt x="980" y="44"/>
                  </a:moveTo>
                  <a:lnTo>
                    <a:pt x="980" y="376"/>
                  </a:lnTo>
                  <a:lnTo>
                    <a:pt x="596" y="376"/>
                  </a:lnTo>
                  <a:lnTo>
                    <a:pt x="596" y="44"/>
                  </a:lnTo>
                  <a:lnTo>
                    <a:pt x="980" y="44"/>
                  </a:lnTo>
                  <a:close/>
                  <a:moveTo>
                    <a:pt x="574" y="798"/>
                  </a:moveTo>
                  <a:lnTo>
                    <a:pt x="510" y="746"/>
                  </a:lnTo>
                  <a:lnTo>
                    <a:pt x="538" y="711"/>
                  </a:lnTo>
                  <a:lnTo>
                    <a:pt x="569" y="737"/>
                  </a:lnTo>
                  <a:lnTo>
                    <a:pt x="644" y="643"/>
                  </a:lnTo>
                  <a:lnTo>
                    <a:pt x="679" y="669"/>
                  </a:lnTo>
                  <a:lnTo>
                    <a:pt x="574" y="798"/>
                  </a:lnTo>
                  <a:close/>
                  <a:moveTo>
                    <a:pt x="68" y="1045"/>
                  </a:moveTo>
                  <a:lnTo>
                    <a:pt x="145" y="1045"/>
                  </a:lnTo>
                  <a:lnTo>
                    <a:pt x="145" y="1372"/>
                  </a:lnTo>
                  <a:lnTo>
                    <a:pt x="68" y="1372"/>
                  </a:lnTo>
                  <a:lnTo>
                    <a:pt x="68" y="1045"/>
                  </a:lnTo>
                  <a:close/>
                  <a:moveTo>
                    <a:pt x="573" y="1372"/>
                  </a:moveTo>
                  <a:lnTo>
                    <a:pt x="188" y="1372"/>
                  </a:lnTo>
                  <a:lnTo>
                    <a:pt x="188" y="1045"/>
                  </a:lnTo>
                  <a:lnTo>
                    <a:pt x="573" y="1045"/>
                  </a:lnTo>
                  <a:lnTo>
                    <a:pt x="573" y="137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2" name="Freeform 84"/>
            <p:cNvSpPr>
              <a:spLocks noChangeArrowheads="1"/>
            </p:cNvSpPr>
            <p:nvPr/>
          </p:nvSpPr>
          <p:spPr bwMode="auto">
            <a:xfrm>
              <a:off x="1271588" y="5715000"/>
              <a:ext cx="50800" cy="50800"/>
            </a:xfrm>
            <a:custGeom>
              <a:avLst/>
              <a:gdLst>
                <a:gd name="T0" fmla="*/ 70 w 143"/>
                <a:gd name="T1" fmla="*/ 0 h 143"/>
                <a:gd name="T2" fmla="*/ 0 w 143"/>
                <a:gd name="T3" fmla="*/ 72 h 143"/>
                <a:gd name="T4" fmla="*/ 70 w 143"/>
                <a:gd name="T5" fmla="*/ 142 h 143"/>
                <a:gd name="T6" fmla="*/ 70 w 143"/>
                <a:gd name="T7" fmla="*/ 142 h 143"/>
                <a:gd name="T8" fmla="*/ 70 w 143"/>
                <a:gd name="T9" fmla="*/ 142 h 143"/>
                <a:gd name="T10" fmla="*/ 140 w 143"/>
                <a:gd name="T11" fmla="*/ 70 h 143"/>
                <a:gd name="T12" fmla="*/ 70 w 143"/>
                <a:gd name="T13" fmla="*/ 0 h 143"/>
                <a:gd name="T14" fmla="*/ 72 w 143"/>
                <a:gd name="T15" fmla="*/ 99 h 143"/>
                <a:gd name="T16" fmla="*/ 72 w 143"/>
                <a:gd name="T17" fmla="*/ 99 h 143"/>
                <a:gd name="T18" fmla="*/ 43 w 143"/>
                <a:gd name="T19" fmla="*/ 72 h 143"/>
                <a:gd name="T20" fmla="*/ 70 w 143"/>
                <a:gd name="T21" fmla="*/ 42 h 143"/>
                <a:gd name="T22" fmla="*/ 70 w 143"/>
                <a:gd name="T23" fmla="*/ 42 h 143"/>
                <a:gd name="T24" fmla="*/ 96 w 143"/>
                <a:gd name="T25" fmla="*/ 70 h 143"/>
                <a:gd name="T26" fmla="*/ 72 w 143"/>
                <a:gd name="T27" fmla="*/ 9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143">
                  <a:moveTo>
                    <a:pt x="70" y="0"/>
                  </a:moveTo>
                  <a:cubicBezTo>
                    <a:pt x="30" y="0"/>
                    <a:pt x="0" y="31"/>
                    <a:pt x="0" y="72"/>
                  </a:cubicBezTo>
                  <a:cubicBezTo>
                    <a:pt x="0" y="110"/>
                    <a:pt x="32" y="142"/>
                    <a:pt x="70" y="142"/>
                  </a:cubicBezTo>
                  <a:lnTo>
                    <a:pt x="70" y="142"/>
                  </a:lnTo>
                  <a:lnTo>
                    <a:pt x="70" y="142"/>
                  </a:lnTo>
                  <a:cubicBezTo>
                    <a:pt x="111" y="142"/>
                    <a:pt x="140" y="110"/>
                    <a:pt x="140" y="70"/>
                  </a:cubicBezTo>
                  <a:cubicBezTo>
                    <a:pt x="142" y="31"/>
                    <a:pt x="111" y="0"/>
                    <a:pt x="70" y="0"/>
                  </a:cubicBezTo>
                  <a:close/>
                  <a:moveTo>
                    <a:pt x="72" y="99"/>
                  </a:moveTo>
                  <a:lnTo>
                    <a:pt x="72" y="99"/>
                  </a:lnTo>
                  <a:cubicBezTo>
                    <a:pt x="56" y="99"/>
                    <a:pt x="47" y="85"/>
                    <a:pt x="43" y="72"/>
                  </a:cubicBezTo>
                  <a:cubicBezTo>
                    <a:pt x="43" y="55"/>
                    <a:pt x="54" y="46"/>
                    <a:pt x="70" y="42"/>
                  </a:cubicBezTo>
                  <a:lnTo>
                    <a:pt x="70" y="42"/>
                  </a:lnTo>
                  <a:cubicBezTo>
                    <a:pt x="87" y="42"/>
                    <a:pt x="96" y="55"/>
                    <a:pt x="96" y="70"/>
                  </a:cubicBezTo>
                  <a:cubicBezTo>
                    <a:pt x="100" y="85"/>
                    <a:pt x="89" y="99"/>
                    <a:pt x="72" y="9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3" name="Freeform 85"/>
            <p:cNvSpPr>
              <a:spLocks noChangeArrowheads="1"/>
            </p:cNvSpPr>
            <p:nvPr/>
          </p:nvSpPr>
          <p:spPr bwMode="auto">
            <a:xfrm>
              <a:off x="1363663" y="5613400"/>
              <a:ext cx="69850" cy="68263"/>
            </a:xfrm>
            <a:custGeom>
              <a:avLst/>
              <a:gdLst>
                <a:gd name="T0" fmla="*/ 70 w 192"/>
                <a:gd name="T1" fmla="*/ 190 h 191"/>
                <a:gd name="T2" fmla="*/ 79 w 192"/>
                <a:gd name="T3" fmla="*/ 190 h 191"/>
                <a:gd name="T4" fmla="*/ 114 w 192"/>
                <a:gd name="T5" fmla="*/ 190 h 191"/>
                <a:gd name="T6" fmla="*/ 121 w 192"/>
                <a:gd name="T7" fmla="*/ 190 h 191"/>
                <a:gd name="T8" fmla="*/ 191 w 192"/>
                <a:gd name="T9" fmla="*/ 120 h 191"/>
                <a:gd name="T10" fmla="*/ 191 w 192"/>
                <a:gd name="T11" fmla="*/ 112 h 191"/>
                <a:gd name="T12" fmla="*/ 191 w 192"/>
                <a:gd name="T13" fmla="*/ 77 h 191"/>
                <a:gd name="T14" fmla="*/ 191 w 192"/>
                <a:gd name="T15" fmla="*/ 70 h 191"/>
                <a:gd name="T16" fmla="*/ 121 w 192"/>
                <a:gd name="T17" fmla="*/ 0 h 191"/>
                <a:gd name="T18" fmla="*/ 114 w 192"/>
                <a:gd name="T19" fmla="*/ 0 h 191"/>
                <a:gd name="T20" fmla="*/ 79 w 192"/>
                <a:gd name="T21" fmla="*/ 0 h 191"/>
                <a:gd name="T22" fmla="*/ 70 w 192"/>
                <a:gd name="T23" fmla="*/ 0 h 191"/>
                <a:gd name="T24" fmla="*/ 0 w 192"/>
                <a:gd name="T25" fmla="*/ 70 h 191"/>
                <a:gd name="T26" fmla="*/ 0 w 192"/>
                <a:gd name="T27" fmla="*/ 77 h 191"/>
                <a:gd name="T28" fmla="*/ 0 w 192"/>
                <a:gd name="T29" fmla="*/ 112 h 191"/>
                <a:gd name="T30" fmla="*/ 0 w 192"/>
                <a:gd name="T31" fmla="*/ 120 h 191"/>
                <a:gd name="T32" fmla="*/ 70 w 192"/>
                <a:gd name="T33" fmla="*/ 190 h 191"/>
                <a:gd name="T34" fmla="*/ 97 w 192"/>
                <a:gd name="T35" fmla="*/ 59 h 191"/>
                <a:gd name="T36" fmla="*/ 132 w 192"/>
                <a:gd name="T37" fmla="*/ 94 h 191"/>
                <a:gd name="T38" fmla="*/ 97 w 192"/>
                <a:gd name="T39" fmla="*/ 129 h 191"/>
                <a:gd name="T40" fmla="*/ 62 w 192"/>
                <a:gd name="T41" fmla="*/ 94 h 191"/>
                <a:gd name="T42" fmla="*/ 97 w 192"/>
                <a:gd name="T43" fmla="*/ 5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2" h="191">
                  <a:moveTo>
                    <a:pt x="70" y="190"/>
                  </a:moveTo>
                  <a:lnTo>
                    <a:pt x="79" y="190"/>
                  </a:lnTo>
                  <a:lnTo>
                    <a:pt x="114" y="190"/>
                  </a:lnTo>
                  <a:lnTo>
                    <a:pt x="121" y="190"/>
                  </a:lnTo>
                  <a:cubicBezTo>
                    <a:pt x="121" y="153"/>
                    <a:pt x="153" y="120"/>
                    <a:pt x="191" y="120"/>
                  </a:cubicBezTo>
                  <a:lnTo>
                    <a:pt x="191" y="112"/>
                  </a:lnTo>
                  <a:lnTo>
                    <a:pt x="191" y="77"/>
                  </a:lnTo>
                  <a:lnTo>
                    <a:pt x="191" y="70"/>
                  </a:lnTo>
                  <a:cubicBezTo>
                    <a:pt x="153" y="70"/>
                    <a:pt x="121" y="37"/>
                    <a:pt x="121" y="0"/>
                  </a:cubicBezTo>
                  <a:lnTo>
                    <a:pt x="114" y="0"/>
                  </a:lnTo>
                  <a:lnTo>
                    <a:pt x="79" y="0"/>
                  </a:lnTo>
                  <a:lnTo>
                    <a:pt x="70" y="0"/>
                  </a:lnTo>
                  <a:cubicBezTo>
                    <a:pt x="70" y="37"/>
                    <a:pt x="38" y="70"/>
                    <a:pt x="0" y="70"/>
                  </a:cubicBezTo>
                  <a:lnTo>
                    <a:pt x="0" y="77"/>
                  </a:lnTo>
                  <a:lnTo>
                    <a:pt x="0" y="112"/>
                  </a:lnTo>
                  <a:lnTo>
                    <a:pt x="0" y="120"/>
                  </a:lnTo>
                  <a:cubicBezTo>
                    <a:pt x="38" y="120"/>
                    <a:pt x="70" y="153"/>
                    <a:pt x="70" y="190"/>
                  </a:cubicBezTo>
                  <a:close/>
                  <a:moveTo>
                    <a:pt x="97" y="59"/>
                  </a:moveTo>
                  <a:cubicBezTo>
                    <a:pt x="105" y="72"/>
                    <a:pt x="118" y="85"/>
                    <a:pt x="132" y="94"/>
                  </a:cubicBezTo>
                  <a:cubicBezTo>
                    <a:pt x="118" y="101"/>
                    <a:pt x="105" y="114"/>
                    <a:pt x="97" y="129"/>
                  </a:cubicBezTo>
                  <a:cubicBezTo>
                    <a:pt x="88" y="114"/>
                    <a:pt x="75" y="101"/>
                    <a:pt x="62" y="94"/>
                  </a:cubicBezTo>
                  <a:cubicBezTo>
                    <a:pt x="75" y="85"/>
                    <a:pt x="88" y="76"/>
                    <a:pt x="97" y="5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45" name="Freeform 86"/>
          <p:cNvSpPr>
            <a:spLocks noChangeArrowheads="1"/>
          </p:cNvSpPr>
          <p:nvPr/>
        </p:nvSpPr>
        <p:spPr bwMode="auto">
          <a:xfrm>
            <a:off x="6651352" y="4978037"/>
            <a:ext cx="610233" cy="394634"/>
          </a:xfrm>
          <a:custGeom>
            <a:avLst/>
            <a:gdLst>
              <a:gd name="T0" fmla="*/ 1728 w 2136"/>
              <a:gd name="T1" fmla="*/ 444 h 1379"/>
              <a:gd name="T2" fmla="*/ 1684 w 2136"/>
              <a:gd name="T3" fmla="*/ 446 h 1379"/>
              <a:gd name="T4" fmla="*/ 1089 w 2136"/>
              <a:gd name="T5" fmla="*/ 0 h 1379"/>
              <a:gd name="T6" fmla="*/ 510 w 2136"/>
              <a:gd name="T7" fmla="*/ 396 h 1379"/>
              <a:gd name="T8" fmla="*/ 462 w 2136"/>
              <a:gd name="T9" fmla="*/ 392 h 1379"/>
              <a:gd name="T10" fmla="*/ 444 w 2136"/>
              <a:gd name="T11" fmla="*/ 392 h 1379"/>
              <a:gd name="T12" fmla="*/ 420 w 2136"/>
              <a:gd name="T13" fmla="*/ 396 h 1379"/>
              <a:gd name="T14" fmla="*/ 416 w 2136"/>
              <a:gd name="T15" fmla="*/ 396 h 1379"/>
              <a:gd name="T16" fmla="*/ 315 w 2136"/>
              <a:gd name="T17" fmla="*/ 416 h 1379"/>
              <a:gd name="T18" fmla="*/ 315 w 2136"/>
              <a:gd name="T19" fmla="*/ 420 h 1379"/>
              <a:gd name="T20" fmla="*/ 0 w 2136"/>
              <a:gd name="T21" fmla="*/ 884 h 1379"/>
              <a:gd name="T22" fmla="*/ 462 w 2136"/>
              <a:gd name="T23" fmla="*/ 1378 h 1379"/>
              <a:gd name="T24" fmla="*/ 1713 w 2136"/>
              <a:gd name="T25" fmla="*/ 1378 h 1379"/>
              <a:gd name="T26" fmla="*/ 2133 w 2136"/>
              <a:gd name="T27" fmla="*/ 882 h 1379"/>
              <a:gd name="T28" fmla="*/ 1728 w 2136"/>
              <a:gd name="T29" fmla="*/ 444 h 1379"/>
              <a:gd name="T30" fmla="*/ 1713 w 2136"/>
              <a:gd name="T31" fmla="*/ 1326 h 1379"/>
              <a:gd name="T32" fmla="*/ 462 w 2136"/>
              <a:gd name="T33" fmla="*/ 1326 h 1379"/>
              <a:gd name="T34" fmla="*/ 55 w 2136"/>
              <a:gd name="T35" fmla="*/ 886 h 1379"/>
              <a:gd name="T36" fmla="*/ 420 w 2136"/>
              <a:gd name="T37" fmla="*/ 450 h 1379"/>
              <a:gd name="T38" fmla="*/ 422 w 2136"/>
              <a:gd name="T39" fmla="*/ 450 h 1379"/>
              <a:gd name="T40" fmla="*/ 444 w 2136"/>
              <a:gd name="T41" fmla="*/ 450 h 1379"/>
              <a:gd name="T42" fmla="*/ 461 w 2136"/>
              <a:gd name="T43" fmla="*/ 450 h 1379"/>
              <a:gd name="T44" fmla="*/ 505 w 2136"/>
              <a:gd name="T45" fmla="*/ 451 h 1379"/>
              <a:gd name="T46" fmla="*/ 505 w 2136"/>
              <a:gd name="T47" fmla="*/ 451 h 1379"/>
              <a:gd name="T48" fmla="*/ 768 w 2136"/>
              <a:gd name="T49" fmla="*/ 602 h 1379"/>
              <a:gd name="T50" fmla="*/ 812 w 2136"/>
              <a:gd name="T51" fmla="*/ 569 h 1379"/>
              <a:gd name="T52" fmla="*/ 562 w 2136"/>
              <a:gd name="T53" fmla="*/ 409 h 1379"/>
              <a:gd name="T54" fmla="*/ 1085 w 2136"/>
              <a:gd name="T55" fmla="*/ 57 h 1379"/>
              <a:gd name="T56" fmla="*/ 1636 w 2136"/>
              <a:gd name="T57" fmla="*/ 485 h 1379"/>
              <a:gd name="T58" fmla="*/ 1641 w 2136"/>
              <a:gd name="T59" fmla="*/ 508 h 1379"/>
              <a:gd name="T60" fmla="*/ 1665 w 2136"/>
              <a:gd name="T61" fmla="*/ 505 h 1379"/>
              <a:gd name="T62" fmla="*/ 1722 w 2136"/>
              <a:gd name="T63" fmla="*/ 501 h 1379"/>
              <a:gd name="T64" fmla="*/ 2076 w 2136"/>
              <a:gd name="T65" fmla="*/ 886 h 1379"/>
              <a:gd name="T66" fmla="*/ 1713 w 2136"/>
              <a:gd name="T67" fmla="*/ 1326 h 1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136" h="1379">
                <a:moveTo>
                  <a:pt x="1728" y="444"/>
                </a:moveTo>
                <a:cubicBezTo>
                  <a:pt x="1713" y="444"/>
                  <a:pt x="1700" y="444"/>
                  <a:pt x="1684" y="446"/>
                </a:cubicBezTo>
                <a:cubicBezTo>
                  <a:pt x="1606" y="184"/>
                  <a:pt x="1365" y="0"/>
                  <a:pt x="1089" y="0"/>
                </a:cubicBezTo>
                <a:cubicBezTo>
                  <a:pt x="833" y="0"/>
                  <a:pt x="602" y="159"/>
                  <a:pt x="510" y="396"/>
                </a:cubicBezTo>
                <a:cubicBezTo>
                  <a:pt x="496" y="392"/>
                  <a:pt x="479" y="392"/>
                  <a:pt x="462" y="392"/>
                </a:cubicBezTo>
                <a:cubicBezTo>
                  <a:pt x="457" y="392"/>
                  <a:pt x="450" y="392"/>
                  <a:pt x="444" y="392"/>
                </a:cubicBezTo>
                <a:cubicBezTo>
                  <a:pt x="437" y="392"/>
                  <a:pt x="427" y="392"/>
                  <a:pt x="420" y="396"/>
                </a:cubicBezTo>
                <a:lnTo>
                  <a:pt x="416" y="396"/>
                </a:lnTo>
                <a:cubicBezTo>
                  <a:pt x="381" y="398"/>
                  <a:pt x="350" y="407"/>
                  <a:pt x="315" y="416"/>
                </a:cubicBezTo>
                <a:lnTo>
                  <a:pt x="315" y="420"/>
                </a:lnTo>
                <a:cubicBezTo>
                  <a:pt x="135" y="490"/>
                  <a:pt x="0" y="678"/>
                  <a:pt x="0" y="884"/>
                </a:cubicBezTo>
                <a:cubicBezTo>
                  <a:pt x="0" y="1148"/>
                  <a:pt x="216" y="1378"/>
                  <a:pt x="462" y="1378"/>
                </a:cubicBezTo>
                <a:lnTo>
                  <a:pt x="1713" y="1378"/>
                </a:lnTo>
                <a:cubicBezTo>
                  <a:pt x="1940" y="1378"/>
                  <a:pt x="2133" y="1103"/>
                  <a:pt x="2133" y="882"/>
                </a:cubicBezTo>
                <a:cubicBezTo>
                  <a:pt x="2135" y="650"/>
                  <a:pt x="1945" y="444"/>
                  <a:pt x="1728" y="444"/>
                </a:cubicBezTo>
                <a:close/>
                <a:moveTo>
                  <a:pt x="1713" y="1326"/>
                </a:moveTo>
                <a:lnTo>
                  <a:pt x="462" y="1326"/>
                </a:lnTo>
                <a:cubicBezTo>
                  <a:pt x="245" y="1326"/>
                  <a:pt x="55" y="1120"/>
                  <a:pt x="55" y="886"/>
                </a:cubicBezTo>
                <a:cubicBezTo>
                  <a:pt x="55" y="667"/>
                  <a:pt x="221" y="474"/>
                  <a:pt x="420" y="450"/>
                </a:cubicBezTo>
                <a:lnTo>
                  <a:pt x="422" y="450"/>
                </a:lnTo>
                <a:cubicBezTo>
                  <a:pt x="427" y="450"/>
                  <a:pt x="437" y="450"/>
                  <a:pt x="444" y="450"/>
                </a:cubicBezTo>
                <a:cubicBezTo>
                  <a:pt x="450" y="450"/>
                  <a:pt x="455" y="450"/>
                  <a:pt x="461" y="450"/>
                </a:cubicBezTo>
                <a:cubicBezTo>
                  <a:pt x="475" y="450"/>
                  <a:pt x="490" y="450"/>
                  <a:pt x="505" y="451"/>
                </a:cubicBezTo>
                <a:lnTo>
                  <a:pt x="505" y="451"/>
                </a:lnTo>
                <a:cubicBezTo>
                  <a:pt x="610" y="466"/>
                  <a:pt x="704" y="516"/>
                  <a:pt x="768" y="602"/>
                </a:cubicBezTo>
                <a:lnTo>
                  <a:pt x="812" y="569"/>
                </a:lnTo>
                <a:cubicBezTo>
                  <a:pt x="748" y="486"/>
                  <a:pt x="661" y="431"/>
                  <a:pt x="562" y="409"/>
                </a:cubicBezTo>
                <a:cubicBezTo>
                  <a:pt x="648" y="197"/>
                  <a:pt x="855" y="57"/>
                  <a:pt x="1085" y="57"/>
                </a:cubicBezTo>
                <a:cubicBezTo>
                  <a:pt x="1347" y="57"/>
                  <a:pt x="1571" y="234"/>
                  <a:pt x="1636" y="485"/>
                </a:cubicBezTo>
                <a:lnTo>
                  <a:pt x="1641" y="508"/>
                </a:lnTo>
                <a:lnTo>
                  <a:pt x="1665" y="505"/>
                </a:lnTo>
                <a:cubicBezTo>
                  <a:pt x="1687" y="503"/>
                  <a:pt x="1706" y="501"/>
                  <a:pt x="1722" y="501"/>
                </a:cubicBezTo>
                <a:cubicBezTo>
                  <a:pt x="1910" y="501"/>
                  <a:pt x="2076" y="680"/>
                  <a:pt x="2076" y="886"/>
                </a:cubicBezTo>
                <a:cubicBezTo>
                  <a:pt x="2081" y="1079"/>
                  <a:pt x="1910" y="1326"/>
                  <a:pt x="1713" y="13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60" name="Rectangle 659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2871184" y="4591162"/>
            <a:ext cx="61035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78D6"/>
                </a:solidFill>
                <a:latin typeface="Segoe UI" charset="0"/>
                <a:ea typeface="Segoe UI" charset="0"/>
                <a:cs typeface="Segoe UI" charset="0"/>
              </a:rPr>
              <a:t>O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ptimized</a:t>
            </a:r>
            <a:r>
              <a:rPr lang="en-US" sz="1400" dirty="0">
                <a:solidFill>
                  <a:srgbClr val="0078D6"/>
                </a:solidFill>
                <a:latin typeface="Segoe UI" charset="0"/>
                <a:ea typeface="Segoe UI" charset="0"/>
                <a:cs typeface="Segoe UI" charset="0"/>
              </a:rPr>
              <a:t>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Databricks Runtime Engine</a:t>
            </a:r>
          </a:p>
        </p:txBody>
      </p:sp>
      <p:sp>
        <p:nvSpPr>
          <p:cNvPr id="663" name="Rectangle 662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3169464" y="549317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BRICKS I/O</a:t>
            </a:r>
          </a:p>
        </p:txBody>
      </p:sp>
      <p:sp>
        <p:nvSpPr>
          <p:cNvPr id="665" name="Rectangle 664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6333964" y="549212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SERVERLESS</a:t>
            </a:r>
          </a:p>
        </p:txBody>
      </p:sp>
      <p:sp>
        <p:nvSpPr>
          <p:cNvPr id="576" name="Freeform 2"/>
          <p:cNvSpPr>
            <a:spLocks noChangeArrowheads="1"/>
          </p:cNvSpPr>
          <p:nvPr/>
        </p:nvSpPr>
        <p:spPr bwMode="auto">
          <a:xfrm>
            <a:off x="2837398" y="3102412"/>
            <a:ext cx="6350000" cy="1378842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59" name="Rectangle 658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2915305" y="1731353"/>
            <a:ext cx="36444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Collaborative Workspace</a:t>
            </a:r>
          </a:p>
        </p:txBody>
      </p:sp>
      <p:sp>
        <p:nvSpPr>
          <p:cNvPr id="649" name="TextBox 648"/>
          <p:cNvSpPr txBox="1"/>
          <p:nvPr/>
        </p:nvSpPr>
        <p:spPr>
          <a:xfrm>
            <a:off x="573564" y="3462022"/>
            <a:ext cx="138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Cloud storage</a:t>
            </a:r>
          </a:p>
        </p:txBody>
      </p:sp>
      <p:sp>
        <p:nvSpPr>
          <p:cNvPr id="652" name="TextBox 651"/>
          <p:cNvSpPr txBox="1"/>
          <p:nvPr/>
        </p:nvSpPr>
        <p:spPr>
          <a:xfrm>
            <a:off x="375153" y="4410128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warehouses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420288" y="5394379"/>
            <a:ext cx="1689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Hadoop storage</a:t>
            </a:r>
          </a:p>
        </p:txBody>
      </p:sp>
      <p:sp>
        <p:nvSpPr>
          <p:cNvPr id="657" name="TextBox 656"/>
          <p:cNvSpPr txBox="1"/>
          <p:nvPr/>
        </p:nvSpPr>
        <p:spPr>
          <a:xfrm>
            <a:off x="375153" y="2484832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IoT / streaming data</a:t>
            </a:r>
          </a:p>
        </p:txBody>
      </p:sp>
      <p:sp>
        <p:nvSpPr>
          <p:cNvPr id="735" name="Rectangle 734">
            <a:extLst>
              <a:ext uri="{FF2B5EF4-FFF2-40B4-BE49-F238E27FC236}">
                <a16:creationId xmlns:a16="http://schemas.microsoft.com/office/drawing/2014/main" id="{4106DE2A-0AB7-43B6-A869-E66C5C3CD8C6}"/>
              </a:ext>
            </a:extLst>
          </p:cNvPr>
          <p:cNvSpPr/>
          <p:nvPr/>
        </p:nvSpPr>
        <p:spPr>
          <a:xfrm>
            <a:off x="7853879" y="5484221"/>
            <a:ext cx="121619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Rest APIs</a:t>
            </a:r>
          </a:p>
        </p:txBody>
      </p:sp>
      <p:sp>
        <p:nvSpPr>
          <p:cNvPr id="701" name="TextBox 700"/>
          <p:cNvSpPr txBox="1"/>
          <p:nvPr/>
        </p:nvSpPr>
        <p:spPr>
          <a:xfrm>
            <a:off x="9899724" y="2360508"/>
            <a:ext cx="1962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Machine learning models</a:t>
            </a:r>
          </a:p>
        </p:txBody>
      </p:sp>
      <p:sp>
        <p:nvSpPr>
          <p:cNvPr id="699" name="TextBox 698"/>
          <p:cNvSpPr txBox="1"/>
          <p:nvPr/>
        </p:nvSpPr>
        <p:spPr>
          <a:xfrm>
            <a:off x="10305938" y="3387966"/>
            <a:ext cx="1188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BI tools</a:t>
            </a:r>
          </a:p>
        </p:txBody>
      </p:sp>
      <p:sp>
        <p:nvSpPr>
          <p:cNvPr id="700" name="TextBox 699"/>
          <p:cNvSpPr txBox="1"/>
          <p:nvPr/>
        </p:nvSpPr>
        <p:spPr>
          <a:xfrm>
            <a:off x="10213165" y="4602238"/>
            <a:ext cx="13532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600"/>
              </a:spcAft>
              <a:defRPr sz="1200" b="1">
                <a:latin typeface="Source Sans Pro Semibold" charset="0"/>
                <a:ea typeface="Source Sans Pro Semibold" charset="0"/>
                <a:cs typeface="Source Sans Pro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exports</a:t>
            </a:r>
          </a:p>
        </p:txBody>
      </p:sp>
      <p:grpSp>
        <p:nvGrpSpPr>
          <p:cNvPr id="704" name="Group 703"/>
          <p:cNvGrpSpPr/>
          <p:nvPr/>
        </p:nvGrpSpPr>
        <p:grpSpPr>
          <a:xfrm>
            <a:off x="10634752" y="1874482"/>
            <a:ext cx="492448" cy="458120"/>
            <a:chOff x="4214813" y="1292225"/>
            <a:chExt cx="2573337" cy="2393950"/>
          </a:xfrm>
          <a:solidFill>
            <a:schemeClr val="accent1"/>
          </a:solidFill>
        </p:grpSpPr>
        <p:sp>
          <p:nvSpPr>
            <p:cNvPr id="705" name="Freeform 1"/>
            <p:cNvSpPr>
              <a:spLocks noChangeArrowheads="1"/>
            </p:cNvSpPr>
            <p:nvPr/>
          </p:nvSpPr>
          <p:spPr bwMode="auto">
            <a:xfrm>
              <a:off x="4214813" y="2047875"/>
              <a:ext cx="309562" cy="641350"/>
            </a:xfrm>
            <a:custGeom>
              <a:avLst/>
              <a:gdLst>
                <a:gd name="T0" fmla="*/ 647 w 861"/>
                <a:gd name="T1" fmla="*/ 1374 h 1783"/>
                <a:gd name="T2" fmla="*/ 645 w 861"/>
                <a:gd name="T3" fmla="*/ 1374 h 1783"/>
                <a:gd name="T4" fmla="*/ 649 w 861"/>
                <a:gd name="T5" fmla="*/ 1374 h 1783"/>
                <a:gd name="T6" fmla="*/ 647 w 861"/>
                <a:gd name="T7" fmla="*/ 1374 h 1783"/>
                <a:gd name="T8" fmla="*/ 593 w 861"/>
                <a:gd name="T9" fmla="*/ 1384 h 1783"/>
                <a:gd name="T10" fmla="*/ 307 w 861"/>
                <a:gd name="T11" fmla="*/ 1112 h 1783"/>
                <a:gd name="T12" fmla="*/ 307 w 861"/>
                <a:gd name="T13" fmla="*/ 393 h 1783"/>
                <a:gd name="T14" fmla="*/ 394 w 861"/>
                <a:gd name="T15" fmla="*/ 133 h 1783"/>
                <a:gd name="T16" fmla="*/ 134 w 861"/>
                <a:gd name="T17" fmla="*/ 47 h 1783"/>
                <a:gd name="T18" fmla="*/ 48 w 861"/>
                <a:gd name="T19" fmla="*/ 307 h 1783"/>
                <a:gd name="T20" fmla="*/ 134 w 861"/>
                <a:gd name="T21" fmla="*/ 393 h 1783"/>
                <a:gd name="T22" fmla="*/ 134 w 861"/>
                <a:gd name="T23" fmla="*/ 1185 h 1783"/>
                <a:gd name="T24" fmla="*/ 464 w 861"/>
                <a:gd name="T25" fmla="*/ 1503 h 1783"/>
                <a:gd name="T26" fmla="*/ 582 w 861"/>
                <a:gd name="T27" fmla="*/ 1748 h 1783"/>
                <a:gd name="T28" fmla="*/ 826 w 861"/>
                <a:gd name="T29" fmla="*/ 1631 h 1783"/>
                <a:gd name="T30" fmla="*/ 708 w 861"/>
                <a:gd name="T31" fmla="*/ 1386 h 1783"/>
                <a:gd name="T32" fmla="*/ 647 w 861"/>
                <a:gd name="T33" fmla="*/ 1374 h 1783"/>
                <a:gd name="T34" fmla="*/ 593 w 861"/>
                <a:gd name="T35" fmla="*/ 1384 h 1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1" h="1783">
                  <a:moveTo>
                    <a:pt x="647" y="1374"/>
                  </a:moveTo>
                  <a:cubicBezTo>
                    <a:pt x="646" y="1374"/>
                    <a:pt x="646" y="1374"/>
                    <a:pt x="645" y="1374"/>
                  </a:cubicBezTo>
                  <a:lnTo>
                    <a:pt x="649" y="1374"/>
                  </a:lnTo>
                  <a:cubicBezTo>
                    <a:pt x="648" y="1374"/>
                    <a:pt x="648" y="1374"/>
                    <a:pt x="647" y="1374"/>
                  </a:cubicBezTo>
                  <a:close/>
                  <a:moveTo>
                    <a:pt x="593" y="1384"/>
                  </a:moveTo>
                  <a:lnTo>
                    <a:pt x="307" y="1112"/>
                  </a:lnTo>
                  <a:lnTo>
                    <a:pt x="307" y="393"/>
                  </a:lnTo>
                  <a:cubicBezTo>
                    <a:pt x="402" y="346"/>
                    <a:pt x="441" y="230"/>
                    <a:pt x="394" y="133"/>
                  </a:cubicBezTo>
                  <a:cubicBezTo>
                    <a:pt x="347" y="39"/>
                    <a:pt x="231" y="0"/>
                    <a:pt x="134" y="47"/>
                  </a:cubicBezTo>
                  <a:cubicBezTo>
                    <a:pt x="40" y="94"/>
                    <a:pt x="0" y="210"/>
                    <a:pt x="48" y="307"/>
                  </a:cubicBezTo>
                  <a:cubicBezTo>
                    <a:pt x="66" y="344"/>
                    <a:pt x="97" y="373"/>
                    <a:pt x="134" y="393"/>
                  </a:cubicBezTo>
                  <a:lnTo>
                    <a:pt x="134" y="1185"/>
                  </a:lnTo>
                  <a:lnTo>
                    <a:pt x="464" y="1503"/>
                  </a:lnTo>
                  <a:cubicBezTo>
                    <a:pt x="430" y="1603"/>
                    <a:pt x="482" y="1713"/>
                    <a:pt x="582" y="1748"/>
                  </a:cubicBezTo>
                  <a:cubicBezTo>
                    <a:pt x="681" y="1782"/>
                    <a:pt x="791" y="1730"/>
                    <a:pt x="826" y="1631"/>
                  </a:cubicBezTo>
                  <a:cubicBezTo>
                    <a:pt x="860" y="1531"/>
                    <a:pt x="808" y="1420"/>
                    <a:pt x="708" y="1386"/>
                  </a:cubicBezTo>
                  <a:cubicBezTo>
                    <a:pt x="687" y="1380"/>
                    <a:pt x="668" y="1375"/>
                    <a:pt x="647" y="1374"/>
                  </a:cubicBezTo>
                  <a:cubicBezTo>
                    <a:pt x="628" y="1375"/>
                    <a:pt x="611" y="1378"/>
                    <a:pt x="593" y="1384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6" name="Freeform 2"/>
            <p:cNvSpPr>
              <a:spLocks noChangeArrowheads="1"/>
            </p:cNvSpPr>
            <p:nvPr/>
          </p:nvSpPr>
          <p:spPr bwMode="auto">
            <a:xfrm>
              <a:off x="4376738" y="1898650"/>
              <a:ext cx="1389062" cy="1787525"/>
            </a:xfrm>
            <a:custGeom>
              <a:avLst/>
              <a:gdLst>
                <a:gd name="T0" fmla="*/ 3733 w 3857"/>
                <a:gd name="T1" fmla="*/ 4576 h 4964"/>
                <a:gd name="T2" fmla="*/ 3733 w 3857"/>
                <a:gd name="T3" fmla="*/ 2003 h 4964"/>
                <a:gd name="T4" fmla="*/ 3079 w 3857"/>
                <a:gd name="T5" fmla="*/ 1389 h 4964"/>
                <a:gd name="T6" fmla="*/ 1573 w 3857"/>
                <a:gd name="T7" fmla="*/ 1389 h 4964"/>
                <a:gd name="T8" fmla="*/ 373 w 3857"/>
                <a:gd name="T9" fmla="*/ 255 h 4964"/>
                <a:gd name="T10" fmla="*/ 384 w 3857"/>
                <a:gd name="T11" fmla="*/ 192 h 4964"/>
                <a:gd name="T12" fmla="*/ 192 w 3857"/>
                <a:gd name="T13" fmla="*/ 0 h 4964"/>
                <a:gd name="T14" fmla="*/ 0 w 3857"/>
                <a:gd name="T15" fmla="*/ 192 h 4964"/>
                <a:gd name="T16" fmla="*/ 192 w 3857"/>
                <a:gd name="T17" fmla="*/ 385 h 4964"/>
                <a:gd name="T18" fmla="*/ 192 w 3857"/>
                <a:gd name="T19" fmla="*/ 385 h 4964"/>
                <a:gd name="T20" fmla="*/ 250 w 3857"/>
                <a:gd name="T21" fmla="*/ 375 h 4964"/>
                <a:gd name="T22" fmla="*/ 1506 w 3857"/>
                <a:gd name="T23" fmla="*/ 1563 h 4964"/>
                <a:gd name="T24" fmla="*/ 3012 w 3857"/>
                <a:gd name="T25" fmla="*/ 1563 h 4964"/>
                <a:gd name="T26" fmla="*/ 3562 w 3857"/>
                <a:gd name="T27" fmla="*/ 2082 h 4964"/>
                <a:gd name="T28" fmla="*/ 3562 w 3857"/>
                <a:gd name="T29" fmla="*/ 4563 h 4964"/>
                <a:gd name="T30" fmla="*/ 3456 w 3857"/>
                <a:gd name="T31" fmla="*/ 4816 h 4964"/>
                <a:gd name="T32" fmla="*/ 3709 w 3857"/>
                <a:gd name="T33" fmla="*/ 4922 h 4964"/>
                <a:gd name="T34" fmla="*/ 3815 w 3857"/>
                <a:gd name="T35" fmla="*/ 4669 h 4964"/>
                <a:gd name="T36" fmla="*/ 3735 w 3857"/>
                <a:gd name="T37" fmla="*/ 4576 h 4964"/>
                <a:gd name="T38" fmla="*/ 3733 w 3857"/>
                <a:gd name="T39" fmla="*/ 4576 h 4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57" h="4964">
                  <a:moveTo>
                    <a:pt x="3733" y="4576"/>
                  </a:moveTo>
                  <a:lnTo>
                    <a:pt x="3733" y="2003"/>
                  </a:lnTo>
                  <a:lnTo>
                    <a:pt x="3079" y="1389"/>
                  </a:lnTo>
                  <a:lnTo>
                    <a:pt x="1573" y="1389"/>
                  </a:lnTo>
                  <a:lnTo>
                    <a:pt x="373" y="255"/>
                  </a:lnTo>
                  <a:cubicBezTo>
                    <a:pt x="379" y="235"/>
                    <a:pt x="384" y="214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ubicBezTo>
                    <a:pt x="85" y="0"/>
                    <a:pt x="0" y="85"/>
                    <a:pt x="0" y="192"/>
                  </a:cubicBezTo>
                  <a:cubicBezTo>
                    <a:pt x="0" y="298"/>
                    <a:pt x="86" y="385"/>
                    <a:pt x="192" y="385"/>
                  </a:cubicBezTo>
                  <a:lnTo>
                    <a:pt x="192" y="385"/>
                  </a:lnTo>
                  <a:cubicBezTo>
                    <a:pt x="212" y="385"/>
                    <a:pt x="231" y="382"/>
                    <a:pt x="250" y="375"/>
                  </a:cubicBezTo>
                  <a:lnTo>
                    <a:pt x="1506" y="1563"/>
                  </a:lnTo>
                  <a:lnTo>
                    <a:pt x="3012" y="1563"/>
                  </a:lnTo>
                  <a:lnTo>
                    <a:pt x="3562" y="2082"/>
                  </a:lnTo>
                  <a:lnTo>
                    <a:pt x="3562" y="4563"/>
                  </a:lnTo>
                  <a:cubicBezTo>
                    <a:pt x="3462" y="4604"/>
                    <a:pt x="3415" y="4716"/>
                    <a:pt x="3456" y="4816"/>
                  </a:cubicBezTo>
                  <a:cubicBezTo>
                    <a:pt x="3497" y="4916"/>
                    <a:pt x="3609" y="4963"/>
                    <a:pt x="3709" y="4922"/>
                  </a:cubicBezTo>
                  <a:cubicBezTo>
                    <a:pt x="3809" y="4881"/>
                    <a:pt x="3856" y="4769"/>
                    <a:pt x="3815" y="4669"/>
                  </a:cubicBezTo>
                  <a:cubicBezTo>
                    <a:pt x="3799" y="4630"/>
                    <a:pt x="3771" y="4597"/>
                    <a:pt x="3735" y="4576"/>
                  </a:cubicBezTo>
                  <a:lnTo>
                    <a:pt x="3733" y="4576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7" name="Freeform 3"/>
            <p:cNvSpPr>
              <a:spLocks noChangeArrowheads="1"/>
            </p:cNvSpPr>
            <p:nvPr/>
          </p:nvSpPr>
          <p:spPr bwMode="auto">
            <a:xfrm>
              <a:off x="4433888" y="2249488"/>
              <a:ext cx="976312" cy="457200"/>
            </a:xfrm>
            <a:custGeom>
              <a:avLst/>
              <a:gdLst>
                <a:gd name="T0" fmla="*/ 2494 w 2714"/>
                <a:gd name="T1" fmla="*/ 854 h 1268"/>
                <a:gd name="T2" fmla="*/ 2321 w 2714"/>
                <a:gd name="T3" fmla="*/ 960 h 1268"/>
                <a:gd name="T4" fmla="*/ 1100 w 2714"/>
                <a:gd name="T5" fmla="*/ 960 h 1268"/>
                <a:gd name="T6" fmla="*/ 401 w 2714"/>
                <a:gd name="T7" fmla="*/ 302 h 1268"/>
                <a:gd name="T8" fmla="*/ 301 w 2714"/>
                <a:gd name="T9" fmla="*/ 44 h 1268"/>
                <a:gd name="T10" fmla="*/ 44 w 2714"/>
                <a:gd name="T11" fmla="*/ 143 h 1268"/>
                <a:gd name="T12" fmla="*/ 143 w 2714"/>
                <a:gd name="T13" fmla="*/ 401 h 1268"/>
                <a:gd name="T14" fmla="*/ 265 w 2714"/>
                <a:gd name="T15" fmla="*/ 413 h 1268"/>
                <a:gd name="T16" fmla="*/ 1030 w 2714"/>
                <a:gd name="T17" fmla="*/ 1135 h 1268"/>
                <a:gd name="T18" fmla="*/ 2323 w 2714"/>
                <a:gd name="T19" fmla="*/ 1135 h 1268"/>
                <a:gd name="T20" fmla="*/ 2581 w 2714"/>
                <a:gd name="T21" fmla="*/ 1218 h 1268"/>
                <a:gd name="T22" fmla="*/ 2664 w 2714"/>
                <a:gd name="T23" fmla="*/ 960 h 1268"/>
                <a:gd name="T24" fmla="*/ 2494 w 2714"/>
                <a:gd name="T25" fmla="*/ 855 h 1268"/>
                <a:gd name="T26" fmla="*/ 2494 w 2714"/>
                <a:gd name="T27" fmla="*/ 854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4" h="1268">
                  <a:moveTo>
                    <a:pt x="2494" y="854"/>
                  </a:moveTo>
                  <a:cubicBezTo>
                    <a:pt x="2421" y="854"/>
                    <a:pt x="2354" y="895"/>
                    <a:pt x="2321" y="960"/>
                  </a:cubicBezTo>
                  <a:lnTo>
                    <a:pt x="1100" y="960"/>
                  </a:lnTo>
                  <a:lnTo>
                    <a:pt x="401" y="302"/>
                  </a:lnTo>
                  <a:cubicBezTo>
                    <a:pt x="445" y="204"/>
                    <a:pt x="401" y="88"/>
                    <a:pt x="301" y="44"/>
                  </a:cubicBezTo>
                  <a:cubicBezTo>
                    <a:pt x="202" y="0"/>
                    <a:pt x="87" y="43"/>
                    <a:pt x="44" y="143"/>
                  </a:cubicBezTo>
                  <a:cubicBezTo>
                    <a:pt x="0" y="242"/>
                    <a:pt x="44" y="357"/>
                    <a:pt x="143" y="401"/>
                  </a:cubicBezTo>
                  <a:cubicBezTo>
                    <a:pt x="180" y="418"/>
                    <a:pt x="225" y="423"/>
                    <a:pt x="265" y="413"/>
                  </a:cubicBezTo>
                  <a:lnTo>
                    <a:pt x="1030" y="1135"/>
                  </a:lnTo>
                  <a:lnTo>
                    <a:pt x="2323" y="1135"/>
                  </a:lnTo>
                  <a:cubicBezTo>
                    <a:pt x="2372" y="1229"/>
                    <a:pt x="2488" y="1267"/>
                    <a:pt x="2581" y="1218"/>
                  </a:cubicBezTo>
                  <a:cubicBezTo>
                    <a:pt x="2676" y="1169"/>
                    <a:pt x="2713" y="1053"/>
                    <a:pt x="2664" y="960"/>
                  </a:cubicBezTo>
                  <a:cubicBezTo>
                    <a:pt x="2632" y="896"/>
                    <a:pt x="2566" y="855"/>
                    <a:pt x="2494" y="855"/>
                  </a:cubicBezTo>
                  <a:lnTo>
                    <a:pt x="2494" y="854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8" name="Freeform 4"/>
            <p:cNvSpPr>
              <a:spLocks noChangeArrowheads="1"/>
            </p:cNvSpPr>
            <p:nvPr/>
          </p:nvSpPr>
          <p:spPr bwMode="auto">
            <a:xfrm>
              <a:off x="4621213" y="1631950"/>
              <a:ext cx="465137" cy="693738"/>
            </a:xfrm>
            <a:custGeom>
              <a:avLst/>
              <a:gdLst>
                <a:gd name="T0" fmla="*/ 190 w 1291"/>
                <a:gd name="T1" fmla="*/ 384 h 1925"/>
                <a:gd name="T2" fmla="*/ 248 w 1291"/>
                <a:gd name="T3" fmla="*/ 374 h 1925"/>
                <a:gd name="T4" fmla="*/ 469 w 1291"/>
                <a:gd name="T5" fmla="*/ 582 h 1925"/>
                <a:gd name="T6" fmla="*/ 469 w 1291"/>
                <a:gd name="T7" fmla="*/ 1246 h 1925"/>
                <a:gd name="T8" fmla="*/ 882 w 1291"/>
                <a:gd name="T9" fmla="*/ 1640 h 1925"/>
                <a:gd name="T10" fmla="*/ 892 w 1291"/>
                <a:gd name="T11" fmla="*/ 1630 h 1925"/>
                <a:gd name="T12" fmla="*/ 996 w 1291"/>
                <a:gd name="T13" fmla="*/ 1883 h 1925"/>
                <a:gd name="T14" fmla="*/ 1249 w 1291"/>
                <a:gd name="T15" fmla="*/ 1779 h 1925"/>
                <a:gd name="T16" fmla="*/ 1145 w 1291"/>
                <a:gd name="T17" fmla="*/ 1526 h 1925"/>
                <a:gd name="T18" fmla="*/ 993 w 1291"/>
                <a:gd name="T19" fmla="*/ 1527 h 1925"/>
                <a:gd name="T20" fmla="*/ 1003 w 1291"/>
                <a:gd name="T21" fmla="*/ 1517 h 1925"/>
                <a:gd name="T22" fmla="*/ 643 w 1291"/>
                <a:gd name="T23" fmla="*/ 1171 h 1925"/>
                <a:gd name="T24" fmla="*/ 643 w 1291"/>
                <a:gd name="T25" fmla="*/ 508 h 1925"/>
                <a:gd name="T26" fmla="*/ 374 w 1291"/>
                <a:gd name="T27" fmla="*/ 255 h 1925"/>
                <a:gd name="T28" fmla="*/ 385 w 1291"/>
                <a:gd name="T29" fmla="*/ 193 h 1925"/>
                <a:gd name="T30" fmla="*/ 193 w 1291"/>
                <a:gd name="T31" fmla="*/ 0 h 1925"/>
                <a:gd name="T32" fmla="*/ 0 w 1291"/>
                <a:gd name="T33" fmla="*/ 193 h 1925"/>
                <a:gd name="T34" fmla="*/ 190 w 1291"/>
                <a:gd name="T35" fmla="*/ 386 h 1925"/>
                <a:gd name="T36" fmla="*/ 190 w 1291"/>
                <a:gd name="T37" fmla="*/ 384 h 1925"/>
                <a:gd name="T38" fmla="*/ 193 w 1291"/>
                <a:gd name="T39" fmla="*/ 386 h 1925"/>
                <a:gd name="T40" fmla="*/ 190 w 1291"/>
                <a:gd name="T41" fmla="*/ 386 h 1925"/>
                <a:gd name="T42" fmla="*/ 190 w 1291"/>
                <a:gd name="T43" fmla="*/ 386 h 1925"/>
                <a:gd name="T44" fmla="*/ 193 w 1291"/>
                <a:gd name="T45" fmla="*/ 386 h 1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1" h="1925">
                  <a:moveTo>
                    <a:pt x="190" y="384"/>
                  </a:moveTo>
                  <a:cubicBezTo>
                    <a:pt x="209" y="384"/>
                    <a:pt x="229" y="381"/>
                    <a:pt x="248" y="374"/>
                  </a:cubicBezTo>
                  <a:lnTo>
                    <a:pt x="469" y="582"/>
                  </a:lnTo>
                  <a:lnTo>
                    <a:pt x="469" y="1246"/>
                  </a:lnTo>
                  <a:lnTo>
                    <a:pt x="882" y="1640"/>
                  </a:lnTo>
                  <a:lnTo>
                    <a:pt x="892" y="1630"/>
                  </a:lnTo>
                  <a:cubicBezTo>
                    <a:pt x="851" y="1730"/>
                    <a:pt x="897" y="1842"/>
                    <a:pt x="996" y="1883"/>
                  </a:cubicBezTo>
                  <a:cubicBezTo>
                    <a:pt x="1096" y="1924"/>
                    <a:pt x="1208" y="1878"/>
                    <a:pt x="1249" y="1779"/>
                  </a:cubicBezTo>
                  <a:cubicBezTo>
                    <a:pt x="1290" y="1679"/>
                    <a:pt x="1244" y="1566"/>
                    <a:pt x="1145" y="1526"/>
                  </a:cubicBezTo>
                  <a:cubicBezTo>
                    <a:pt x="1096" y="1506"/>
                    <a:pt x="1040" y="1506"/>
                    <a:pt x="993" y="1527"/>
                  </a:cubicBezTo>
                  <a:lnTo>
                    <a:pt x="1003" y="1517"/>
                  </a:lnTo>
                  <a:lnTo>
                    <a:pt x="643" y="1171"/>
                  </a:lnTo>
                  <a:lnTo>
                    <a:pt x="643" y="508"/>
                  </a:lnTo>
                  <a:lnTo>
                    <a:pt x="374" y="255"/>
                  </a:lnTo>
                  <a:cubicBezTo>
                    <a:pt x="381" y="236"/>
                    <a:pt x="385" y="214"/>
                    <a:pt x="385" y="193"/>
                  </a:cubicBezTo>
                  <a:cubicBezTo>
                    <a:pt x="385" y="87"/>
                    <a:pt x="299" y="0"/>
                    <a:pt x="193" y="0"/>
                  </a:cubicBezTo>
                  <a:cubicBezTo>
                    <a:pt x="87" y="0"/>
                    <a:pt x="0" y="87"/>
                    <a:pt x="0" y="193"/>
                  </a:cubicBezTo>
                  <a:cubicBezTo>
                    <a:pt x="0" y="298"/>
                    <a:pt x="85" y="384"/>
                    <a:pt x="190" y="386"/>
                  </a:cubicBezTo>
                  <a:lnTo>
                    <a:pt x="190" y="384"/>
                  </a:lnTo>
                  <a:close/>
                  <a:moveTo>
                    <a:pt x="193" y="386"/>
                  </a:moveTo>
                  <a:lnTo>
                    <a:pt x="190" y="386"/>
                  </a:lnTo>
                  <a:lnTo>
                    <a:pt x="190" y="386"/>
                  </a:lnTo>
                  <a:cubicBezTo>
                    <a:pt x="191" y="386"/>
                    <a:pt x="192" y="386"/>
                    <a:pt x="193" y="38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9" name="Freeform 5"/>
            <p:cNvSpPr>
              <a:spLocks noChangeArrowheads="1"/>
            </p:cNvSpPr>
            <p:nvPr/>
          </p:nvSpPr>
          <p:spPr bwMode="auto">
            <a:xfrm>
              <a:off x="5118100" y="1322388"/>
              <a:ext cx="325438" cy="330200"/>
            </a:xfrm>
            <a:custGeom>
              <a:avLst/>
              <a:gdLst>
                <a:gd name="T0" fmla="*/ 218 w 904"/>
                <a:gd name="T1" fmla="*/ 412 h 916"/>
                <a:gd name="T2" fmla="*/ 266 w 904"/>
                <a:gd name="T3" fmla="*/ 405 h 916"/>
                <a:gd name="T4" fmla="*/ 494 w 904"/>
                <a:gd name="T5" fmla="*/ 619 h 916"/>
                <a:gd name="T6" fmla="*/ 605 w 904"/>
                <a:gd name="T7" fmla="*/ 875 h 916"/>
                <a:gd name="T8" fmla="*/ 862 w 904"/>
                <a:gd name="T9" fmla="*/ 764 h 916"/>
                <a:gd name="T10" fmla="*/ 751 w 904"/>
                <a:gd name="T11" fmla="*/ 508 h 916"/>
                <a:gd name="T12" fmla="*/ 623 w 904"/>
                <a:gd name="T13" fmla="*/ 501 h 916"/>
                <a:gd name="T14" fmla="*/ 398 w 904"/>
                <a:gd name="T15" fmla="*/ 291 h 916"/>
                <a:gd name="T16" fmla="*/ 290 w 904"/>
                <a:gd name="T17" fmla="*/ 39 h 916"/>
                <a:gd name="T18" fmla="*/ 39 w 904"/>
                <a:gd name="T19" fmla="*/ 147 h 916"/>
                <a:gd name="T20" fmla="*/ 147 w 904"/>
                <a:gd name="T21" fmla="*/ 399 h 916"/>
                <a:gd name="T22" fmla="*/ 218 w 904"/>
                <a:gd name="T23" fmla="*/ 412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4" h="916">
                  <a:moveTo>
                    <a:pt x="218" y="412"/>
                  </a:moveTo>
                  <a:cubicBezTo>
                    <a:pt x="235" y="412"/>
                    <a:pt x="251" y="408"/>
                    <a:pt x="266" y="405"/>
                  </a:cubicBezTo>
                  <a:lnTo>
                    <a:pt x="494" y="619"/>
                  </a:lnTo>
                  <a:cubicBezTo>
                    <a:pt x="454" y="720"/>
                    <a:pt x="504" y="834"/>
                    <a:pt x="605" y="875"/>
                  </a:cubicBezTo>
                  <a:cubicBezTo>
                    <a:pt x="707" y="915"/>
                    <a:pt x="821" y="866"/>
                    <a:pt x="862" y="764"/>
                  </a:cubicBezTo>
                  <a:cubicBezTo>
                    <a:pt x="903" y="663"/>
                    <a:pt x="852" y="549"/>
                    <a:pt x="751" y="508"/>
                  </a:cubicBezTo>
                  <a:cubicBezTo>
                    <a:pt x="710" y="492"/>
                    <a:pt x="664" y="490"/>
                    <a:pt x="623" y="501"/>
                  </a:cubicBezTo>
                  <a:lnTo>
                    <a:pt x="398" y="291"/>
                  </a:lnTo>
                  <a:cubicBezTo>
                    <a:pt x="437" y="191"/>
                    <a:pt x="390" y="80"/>
                    <a:pt x="290" y="39"/>
                  </a:cubicBezTo>
                  <a:cubicBezTo>
                    <a:pt x="191" y="0"/>
                    <a:pt x="80" y="48"/>
                    <a:pt x="39" y="147"/>
                  </a:cubicBezTo>
                  <a:cubicBezTo>
                    <a:pt x="0" y="247"/>
                    <a:pt x="47" y="358"/>
                    <a:pt x="147" y="399"/>
                  </a:cubicBezTo>
                  <a:cubicBezTo>
                    <a:pt x="169" y="407"/>
                    <a:pt x="194" y="412"/>
                    <a:pt x="218" y="4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0" name="Freeform 6"/>
            <p:cNvSpPr>
              <a:spLocks noChangeArrowheads="1"/>
            </p:cNvSpPr>
            <p:nvPr/>
          </p:nvSpPr>
          <p:spPr bwMode="auto">
            <a:xfrm>
              <a:off x="5194300" y="1292225"/>
              <a:ext cx="577850" cy="565150"/>
            </a:xfrm>
            <a:custGeom>
              <a:avLst/>
              <a:gdLst>
                <a:gd name="T0" fmla="*/ 870 w 1603"/>
                <a:gd name="T1" fmla="*/ 404 h 1570"/>
                <a:gd name="T2" fmla="*/ 939 w 1603"/>
                <a:gd name="T3" fmla="*/ 391 h 1570"/>
                <a:gd name="T4" fmla="*/ 1344 w 1603"/>
                <a:gd name="T5" fmla="*/ 771 h 1570"/>
                <a:gd name="T6" fmla="*/ 797 w 1603"/>
                <a:gd name="T7" fmla="*/ 1262 h 1570"/>
                <a:gd name="T8" fmla="*/ 393 w 1603"/>
                <a:gd name="T9" fmla="*/ 1262 h 1570"/>
                <a:gd name="T10" fmla="*/ 134 w 1603"/>
                <a:gd name="T11" fmla="*/ 1176 h 1570"/>
                <a:gd name="T12" fmla="*/ 47 w 1603"/>
                <a:gd name="T13" fmla="*/ 1436 h 1570"/>
                <a:gd name="T14" fmla="*/ 307 w 1603"/>
                <a:gd name="T15" fmla="*/ 1522 h 1570"/>
                <a:gd name="T16" fmla="*/ 393 w 1603"/>
                <a:gd name="T17" fmla="*/ 1436 h 1570"/>
                <a:gd name="T18" fmla="*/ 865 w 1603"/>
                <a:gd name="T19" fmla="*/ 1436 h 1570"/>
                <a:gd name="T20" fmla="*/ 1602 w 1603"/>
                <a:gd name="T21" fmla="*/ 774 h 1570"/>
                <a:gd name="T22" fmla="*/ 1055 w 1603"/>
                <a:gd name="T23" fmla="*/ 263 h 1570"/>
                <a:gd name="T24" fmla="*/ 919 w 1603"/>
                <a:gd name="T25" fmla="*/ 28 h 1570"/>
                <a:gd name="T26" fmla="*/ 684 w 1603"/>
                <a:gd name="T27" fmla="*/ 164 h 1570"/>
                <a:gd name="T28" fmla="*/ 819 w 1603"/>
                <a:gd name="T29" fmla="*/ 399 h 1570"/>
                <a:gd name="T30" fmla="*/ 870 w 1603"/>
                <a:gd name="T31" fmla="*/ 404 h 1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03" h="1570">
                  <a:moveTo>
                    <a:pt x="870" y="404"/>
                  </a:moveTo>
                  <a:cubicBezTo>
                    <a:pt x="895" y="404"/>
                    <a:pt x="917" y="399"/>
                    <a:pt x="939" y="391"/>
                  </a:cubicBezTo>
                  <a:lnTo>
                    <a:pt x="1344" y="771"/>
                  </a:lnTo>
                  <a:lnTo>
                    <a:pt x="797" y="1262"/>
                  </a:lnTo>
                  <a:lnTo>
                    <a:pt x="393" y="1262"/>
                  </a:lnTo>
                  <a:cubicBezTo>
                    <a:pt x="346" y="1168"/>
                    <a:pt x="230" y="1129"/>
                    <a:pt x="134" y="1176"/>
                  </a:cubicBezTo>
                  <a:cubicBezTo>
                    <a:pt x="39" y="1223"/>
                    <a:pt x="0" y="1339"/>
                    <a:pt x="47" y="1436"/>
                  </a:cubicBezTo>
                  <a:cubicBezTo>
                    <a:pt x="94" y="1530"/>
                    <a:pt x="210" y="1569"/>
                    <a:pt x="307" y="1522"/>
                  </a:cubicBezTo>
                  <a:cubicBezTo>
                    <a:pt x="344" y="1504"/>
                    <a:pt x="374" y="1473"/>
                    <a:pt x="393" y="1436"/>
                  </a:cubicBezTo>
                  <a:lnTo>
                    <a:pt x="865" y="1436"/>
                  </a:lnTo>
                  <a:lnTo>
                    <a:pt x="1602" y="774"/>
                  </a:lnTo>
                  <a:lnTo>
                    <a:pt x="1055" y="263"/>
                  </a:lnTo>
                  <a:cubicBezTo>
                    <a:pt x="1082" y="160"/>
                    <a:pt x="1022" y="56"/>
                    <a:pt x="919" y="28"/>
                  </a:cubicBezTo>
                  <a:cubicBezTo>
                    <a:pt x="816" y="0"/>
                    <a:pt x="712" y="61"/>
                    <a:pt x="684" y="164"/>
                  </a:cubicBezTo>
                  <a:cubicBezTo>
                    <a:pt x="656" y="266"/>
                    <a:pt x="717" y="371"/>
                    <a:pt x="819" y="399"/>
                  </a:cubicBezTo>
                  <a:cubicBezTo>
                    <a:pt x="837" y="402"/>
                    <a:pt x="854" y="404"/>
                    <a:pt x="870" y="40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1" name="Freeform 7"/>
            <p:cNvSpPr>
              <a:spLocks noChangeArrowheads="1"/>
            </p:cNvSpPr>
            <p:nvPr/>
          </p:nvSpPr>
          <p:spPr bwMode="auto">
            <a:xfrm>
              <a:off x="5251450" y="1489075"/>
              <a:ext cx="728663" cy="593725"/>
            </a:xfrm>
            <a:custGeom>
              <a:avLst/>
              <a:gdLst>
                <a:gd name="T0" fmla="*/ 1708 w 2025"/>
                <a:gd name="T1" fmla="*/ 392 h 1651"/>
                <a:gd name="T2" fmla="*/ 1708 w 2025"/>
                <a:gd name="T3" fmla="*/ 652 h 1651"/>
                <a:gd name="T4" fmla="*/ 974 w 2025"/>
                <a:gd name="T5" fmla="*/ 1329 h 1651"/>
                <a:gd name="T6" fmla="*/ 959 w 2025"/>
                <a:gd name="T7" fmla="*/ 1343 h 1651"/>
                <a:gd name="T8" fmla="*/ 394 w 2025"/>
                <a:gd name="T9" fmla="*/ 1343 h 1651"/>
                <a:gd name="T10" fmla="*/ 134 w 2025"/>
                <a:gd name="T11" fmla="*/ 1256 h 1651"/>
                <a:gd name="T12" fmla="*/ 48 w 2025"/>
                <a:gd name="T13" fmla="*/ 1516 h 1651"/>
                <a:gd name="T14" fmla="*/ 307 w 2025"/>
                <a:gd name="T15" fmla="*/ 1602 h 1651"/>
                <a:gd name="T16" fmla="*/ 394 w 2025"/>
                <a:gd name="T17" fmla="*/ 1516 h 1651"/>
                <a:gd name="T18" fmla="*/ 1029 w 2025"/>
                <a:gd name="T19" fmla="*/ 1516 h 1651"/>
                <a:gd name="T20" fmla="*/ 1882 w 2025"/>
                <a:gd name="T21" fmla="*/ 724 h 1651"/>
                <a:gd name="T22" fmla="*/ 1882 w 2025"/>
                <a:gd name="T23" fmla="*/ 399 h 1651"/>
                <a:gd name="T24" fmla="*/ 1981 w 2025"/>
                <a:gd name="T25" fmla="*/ 142 h 1651"/>
                <a:gd name="T26" fmla="*/ 1725 w 2025"/>
                <a:gd name="T27" fmla="*/ 43 h 1651"/>
                <a:gd name="T28" fmla="*/ 1625 w 2025"/>
                <a:gd name="T29" fmla="*/ 299 h 1651"/>
                <a:gd name="T30" fmla="*/ 1708 w 2025"/>
                <a:gd name="T31" fmla="*/ 392 h 1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25" h="1651">
                  <a:moveTo>
                    <a:pt x="1708" y="392"/>
                  </a:moveTo>
                  <a:lnTo>
                    <a:pt x="1708" y="652"/>
                  </a:lnTo>
                  <a:lnTo>
                    <a:pt x="974" y="1329"/>
                  </a:lnTo>
                  <a:lnTo>
                    <a:pt x="959" y="1343"/>
                  </a:lnTo>
                  <a:lnTo>
                    <a:pt x="394" y="1343"/>
                  </a:lnTo>
                  <a:cubicBezTo>
                    <a:pt x="346" y="1248"/>
                    <a:pt x="231" y="1209"/>
                    <a:pt x="134" y="1256"/>
                  </a:cubicBezTo>
                  <a:cubicBezTo>
                    <a:pt x="39" y="1303"/>
                    <a:pt x="0" y="1419"/>
                    <a:pt x="48" y="1516"/>
                  </a:cubicBezTo>
                  <a:cubicBezTo>
                    <a:pt x="95" y="1610"/>
                    <a:pt x="211" y="1650"/>
                    <a:pt x="307" y="1602"/>
                  </a:cubicBezTo>
                  <a:cubicBezTo>
                    <a:pt x="345" y="1584"/>
                    <a:pt x="374" y="1553"/>
                    <a:pt x="394" y="1516"/>
                  </a:cubicBezTo>
                  <a:lnTo>
                    <a:pt x="1029" y="1516"/>
                  </a:lnTo>
                  <a:lnTo>
                    <a:pt x="1882" y="724"/>
                  </a:lnTo>
                  <a:lnTo>
                    <a:pt x="1882" y="399"/>
                  </a:lnTo>
                  <a:cubicBezTo>
                    <a:pt x="1979" y="356"/>
                    <a:pt x="2024" y="242"/>
                    <a:pt x="1981" y="142"/>
                  </a:cubicBezTo>
                  <a:cubicBezTo>
                    <a:pt x="1939" y="44"/>
                    <a:pt x="1824" y="0"/>
                    <a:pt x="1725" y="43"/>
                  </a:cubicBezTo>
                  <a:cubicBezTo>
                    <a:pt x="1627" y="85"/>
                    <a:pt x="1583" y="199"/>
                    <a:pt x="1625" y="299"/>
                  </a:cubicBezTo>
                  <a:cubicBezTo>
                    <a:pt x="1643" y="340"/>
                    <a:pt x="1672" y="371"/>
                    <a:pt x="1708" y="39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2" name="Freeform 8"/>
            <p:cNvSpPr>
              <a:spLocks noChangeArrowheads="1"/>
            </p:cNvSpPr>
            <p:nvPr/>
          </p:nvSpPr>
          <p:spPr bwMode="auto">
            <a:xfrm>
              <a:off x="5748338" y="1885950"/>
              <a:ext cx="200025" cy="439738"/>
            </a:xfrm>
            <a:custGeom>
              <a:avLst/>
              <a:gdLst>
                <a:gd name="T0" fmla="*/ 268 w 556"/>
                <a:gd name="T1" fmla="*/ 406 h 1220"/>
                <a:gd name="T2" fmla="*/ 519 w 556"/>
                <a:gd name="T3" fmla="*/ 287 h 1220"/>
                <a:gd name="T4" fmla="*/ 400 w 556"/>
                <a:gd name="T5" fmla="*/ 35 h 1220"/>
                <a:gd name="T6" fmla="*/ 149 w 556"/>
                <a:gd name="T7" fmla="*/ 155 h 1220"/>
                <a:gd name="T8" fmla="*/ 147 w 556"/>
                <a:gd name="T9" fmla="*/ 282 h 1220"/>
                <a:gd name="T10" fmla="*/ 0 w 556"/>
                <a:gd name="T11" fmla="*/ 421 h 1220"/>
                <a:gd name="T12" fmla="*/ 0 w 556"/>
                <a:gd name="T13" fmla="*/ 854 h 1220"/>
                <a:gd name="T14" fmla="*/ 141 w 556"/>
                <a:gd name="T15" fmla="*/ 981 h 1220"/>
                <a:gd name="T16" fmla="*/ 299 w 556"/>
                <a:gd name="T17" fmla="*/ 1201 h 1220"/>
                <a:gd name="T18" fmla="*/ 519 w 556"/>
                <a:gd name="T19" fmla="*/ 1043 h 1220"/>
                <a:gd name="T20" fmla="*/ 361 w 556"/>
                <a:gd name="T21" fmla="*/ 822 h 1220"/>
                <a:gd name="T22" fmla="*/ 330 w 556"/>
                <a:gd name="T23" fmla="*/ 819 h 1220"/>
                <a:gd name="T24" fmla="*/ 243 w 556"/>
                <a:gd name="T25" fmla="*/ 840 h 1220"/>
                <a:gd name="T26" fmla="*/ 173 w 556"/>
                <a:gd name="T27" fmla="*/ 774 h 1220"/>
                <a:gd name="T28" fmla="*/ 173 w 556"/>
                <a:gd name="T29" fmla="*/ 494 h 1220"/>
                <a:gd name="T30" fmla="*/ 268 w 556"/>
                <a:gd name="T31" fmla="*/ 406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6" h="1220">
                  <a:moveTo>
                    <a:pt x="268" y="406"/>
                  </a:moveTo>
                  <a:cubicBezTo>
                    <a:pt x="371" y="442"/>
                    <a:pt x="482" y="388"/>
                    <a:pt x="519" y="287"/>
                  </a:cubicBezTo>
                  <a:cubicBezTo>
                    <a:pt x="555" y="184"/>
                    <a:pt x="502" y="73"/>
                    <a:pt x="400" y="35"/>
                  </a:cubicBezTo>
                  <a:cubicBezTo>
                    <a:pt x="297" y="0"/>
                    <a:pt x="186" y="53"/>
                    <a:pt x="149" y="155"/>
                  </a:cubicBezTo>
                  <a:cubicBezTo>
                    <a:pt x="134" y="195"/>
                    <a:pt x="134" y="240"/>
                    <a:pt x="147" y="282"/>
                  </a:cubicBezTo>
                  <a:lnTo>
                    <a:pt x="0" y="421"/>
                  </a:lnTo>
                  <a:lnTo>
                    <a:pt x="0" y="854"/>
                  </a:lnTo>
                  <a:lnTo>
                    <a:pt x="141" y="981"/>
                  </a:lnTo>
                  <a:cubicBezTo>
                    <a:pt x="123" y="1085"/>
                    <a:pt x="195" y="1185"/>
                    <a:pt x="299" y="1201"/>
                  </a:cubicBezTo>
                  <a:cubicBezTo>
                    <a:pt x="404" y="1219"/>
                    <a:pt x="503" y="1147"/>
                    <a:pt x="519" y="1043"/>
                  </a:cubicBezTo>
                  <a:cubicBezTo>
                    <a:pt x="537" y="938"/>
                    <a:pt x="466" y="839"/>
                    <a:pt x="361" y="822"/>
                  </a:cubicBezTo>
                  <a:cubicBezTo>
                    <a:pt x="351" y="821"/>
                    <a:pt x="340" y="819"/>
                    <a:pt x="330" y="819"/>
                  </a:cubicBezTo>
                  <a:cubicBezTo>
                    <a:pt x="301" y="819"/>
                    <a:pt x="270" y="826"/>
                    <a:pt x="243" y="840"/>
                  </a:cubicBezTo>
                  <a:lnTo>
                    <a:pt x="173" y="774"/>
                  </a:lnTo>
                  <a:lnTo>
                    <a:pt x="173" y="494"/>
                  </a:lnTo>
                  <a:lnTo>
                    <a:pt x="268" y="40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3" name="Freeform 9"/>
            <p:cNvSpPr>
              <a:spLocks noChangeArrowheads="1"/>
            </p:cNvSpPr>
            <p:nvPr/>
          </p:nvSpPr>
          <p:spPr bwMode="auto">
            <a:xfrm>
              <a:off x="6275388" y="2271713"/>
              <a:ext cx="239712" cy="444500"/>
            </a:xfrm>
            <a:custGeom>
              <a:avLst/>
              <a:gdLst>
                <a:gd name="T0" fmla="*/ 454 w 664"/>
                <a:gd name="T1" fmla="*/ 0 h 1234"/>
                <a:gd name="T2" fmla="*/ 261 w 664"/>
                <a:gd name="T3" fmla="*/ 191 h 1234"/>
                <a:gd name="T4" fmla="*/ 276 w 664"/>
                <a:gd name="T5" fmla="*/ 265 h 1234"/>
                <a:gd name="T6" fmla="*/ 134 w 664"/>
                <a:gd name="T7" fmla="*/ 399 h 1234"/>
                <a:gd name="T8" fmla="*/ 134 w 664"/>
                <a:gd name="T9" fmla="*/ 839 h 1234"/>
                <a:gd name="T10" fmla="*/ 47 w 664"/>
                <a:gd name="T11" fmla="*/ 1099 h 1234"/>
                <a:gd name="T12" fmla="*/ 307 w 664"/>
                <a:gd name="T13" fmla="*/ 1186 h 1234"/>
                <a:gd name="T14" fmla="*/ 393 w 664"/>
                <a:gd name="T15" fmla="*/ 926 h 1234"/>
                <a:gd name="T16" fmla="*/ 307 w 664"/>
                <a:gd name="T17" fmla="*/ 839 h 1234"/>
                <a:gd name="T18" fmla="*/ 307 w 664"/>
                <a:gd name="T19" fmla="*/ 474 h 1234"/>
                <a:gd name="T20" fmla="*/ 406 w 664"/>
                <a:gd name="T21" fmla="*/ 381 h 1234"/>
                <a:gd name="T22" fmla="*/ 638 w 664"/>
                <a:gd name="T23" fmla="*/ 237 h 1234"/>
                <a:gd name="T24" fmla="*/ 495 w 664"/>
                <a:gd name="T25" fmla="*/ 5 h 1234"/>
                <a:gd name="T26" fmla="*/ 454 w 664"/>
                <a:gd name="T27" fmla="*/ 0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4" h="1234">
                  <a:moveTo>
                    <a:pt x="454" y="0"/>
                  </a:moveTo>
                  <a:cubicBezTo>
                    <a:pt x="348" y="0"/>
                    <a:pt x="261" y="85"/>
                    <a:pt x="261" y="191"/>
                  </a:cubicBezTo>
                  <a:cubicBezTo>
                    <a:pt x="261" y="216"/>
                    <a:pt x="266" y="240"/>
                    <a:pt x="276" y="265"/>
                  </a:cubicBezTo>
                  <a:lnTo>
                    <a:pt x="134" y="399"/>
                  </a:lnTo>
                  <a:lnTo>
                    <a:pt x="134" y="839"/>
                  </a:lnTo>
                  <a:cubicBezTo>
                    <a:pt x="39" y="887"/>
                    <a:pt x="0" y="1003"/>
                    <a:pt x="47" y="1099"/>
                  </a:cubicBezTo>
                  <a:cubicBezTo>
                    <a:pt x="94" y="1194"/>
                    <a:pt x="210" y="1233"/>
                    <a:pt x="307" y="1186"/>
                  </a:cubicBezTo>
                  <a:cubicBezTo>
                    <a:pt x="401" y="1138"/>
                    <a:pt x="441" y="1022"/>
                    <a:pt x="393" y="926"/>
                  </a:cubicBezTo>
                  <a:cubicBezTo>
                    <a:pt x="375" y="888"/>
                    <a:pt x="344" y="859"/>
                    <a:pt x="307" y="839"/>
                  </a:cubicBezTo>
                  <a:lnTo>
                    <a:pt x="307" y="474"/>
                  </a:lnTo>
                  <a:lnTo>
                    <a:pt x="406" y="381"/>
                  </a:lnTo>
                  <a:cubicBezTo>
                    <a:pt x="509" y="405"/>
                    <a:pt x="614" y="341"/>
                    <a:pt x="638" y="237"/>
                  </a:cubicBezTo>
                  <a:cubicBezTo>
                    <a:pt x="663" y="132"/>
                    <a:pt x="599" y="29"/>
                    <a:pt x="495" y="5"/>
                  </a:cubicBezTo>
                  <a:cubicBezTo>
                    <a:pt x="480" y="2"/>
                    <a:pt x="467" y="0"/>
                    <a:pt x="454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4" name="Freeform 10"/>
            <p:cNvSpPr>
              <a:spLocks noChangeArrowheads="1"/>
            </p:cNvSpPr>
            <p:nvPr/>
          </p:nvSpPr>
          <p:spPr bwMode="auto">
            <a:xfrm>
              <a:off x="4929188" y="1463675"/>
              <a:ext cx="998537" cy="1862138"/>
            </a:xfrm>
            <a:custGeom>
              <a:avLst/>
              <a:gdLst>
                <a:gd name="T0" fmla="*/ 2640 w 2773"/>
                <a:gd name="T1" fmla="*/ 2836 h 5172"/>
                <a:gd name="T2" fmla="*/ 1770 w 2773"/>
                <a:gd name="T3" fmla="*/ 2026 h 5172"/>
                <a:gd name="T4" fmla="*/ 997 w 2773"/>
                <a:gd name="T5" fmla="*/ 2026 h 5172"/>
                <a:gd name="T6" fmla="*/ 305 w 2773"/>
                <a:gd name="T7" fmla="*/ 1380 h 5172"/>
                <a:gd name="T8" fmla="*/ 305 w 2773"/>
                <a:gd name="T9" fmla="*/ 390 h 5172"/>
                <a:gd name="T10" fmla="*/ 390 w 2773"/>
                <a:gd name="T11" fmla="*/ 132 h 5172"/>
                <a:gd name="T12" fmla="*/ 132 w 2773"/>
                <a:gd name="T13" fmla="*/ 47 h 5172"/>
                <a:gd name="T14" fmla="*/ 47 w 2773"/>
                <a:gd name="T15" fmla="*/ 305 h 5172"/>
                <a:gd name="T16" fmla="*/ 132 w 2773"/>
                <a:gd name="T17" fmla="*/ 390 h 5172"/>
                <a:gd name="T18" fmla="*/ 132 w 2773"/>
                <a:gd name="T19" fmla="*/ 1453 h 5172"/>
                <a:gd name="T20" fmla="*/ 925 w 2773"/>
                <a:gd name="T21" fmla="*/ 2198 h 5172"/>
                <a:gd name="T22" fmla="*/ 1699 w 2773"/>
                <a:gd name="T23" fmla="*/ 2198 h 5172"/>
                <a:gd name="T24" fmla="*/ 2465 w 2773"/>
                <a:gd name="T25" fmla="*/ 2910 h 5172"/>
                <a:gd name="T26" fmla="*/ 2465 w 2773"/>
                <a:gd name="T27" fmla="*/ 4778 h 5172"/>
                <a:gd name="T28" fmla="*/ 2379 w 2773"/>
                <a:gd name="T29" fmla="*/ 5037 h 5172"/>
                <a:gd name="T30" fmla="*/ 2638 w 2773"/>
                <a:gd name="T31" fmla="*/ 5124 h 5172"/>
                <a:gd name="T32" fmla="*/ 2725 w 2773"/>
                <a:gd name="T33" fmla="*/ 4864 h 5172"/>
                <a:gd name="T34" fmla="*/ 2638 w 2773"/>
                <a:gd name="T35" fmla="*/ 4778 h 5172"/>
                <a:gd name="T36" fmla="*/ 2640 w 2773"/>
                <a:gd name="T37" fmla="*/ 4778 h 5172"/>
                <a:gd name="T38" fmla="*/ 2640 w 2773"/>
                <a:gd name="T39" fmla="*/ 2836 h 5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3" h="5172">
                  <a:moveTo>
                    <a:pt x="2640" y="2836"/>
                  </a:moveTo>
                  <a:lnTo>
                    <a:pt x="1770" y="2026"/>
                  </a:lnTo>
                  <a:lnTo>
                    <a:pt x="997" y="2026"/>
                  </a:lnTo>
                  <a:lnTo>
                    <a:pt x="305" y="1380"/>
                  </a:lnTo>
                  <a:lnTo>
                    <a:pt x="305" y="390"/>
                  </a:lnTo>
                  <a:cubicBezTo>
                    <a:pt x="400" y="343"/>
                    <a:pt x="437" y="227"/>
                    <a:pt x="390" y="132"/>
                  </a:cubicBezTo>
                  <a:cubicBezTo>
                    <a:pt x="342" y="37"/>
                    <a:pt x="227" y="0"/>
                    <a:pt x="132" y="47"/>
                  </a:cubicBezTo>
                  <a:cubicBezTo>
                    <a:pt x="38" y="94"/>
                    <a:pt x="0" y="210"/>
                    <a:pt x="47" y="305"/>
                  </a:cubicBezTo>
                  <a:cubicBezTo>
                    <a:pt x="65" y="341"/>
                    <a:pt x="96" y="372"/>
                    <a:pt x="132" y="390"/>
                  </a:cubicBezTo>
                  <a:lnTo>
                    <a:pt x="132" y="1453"/>
                  </a:lnTo>
                  <a:lnTo>
                    <a:pt x="925" y="2198"/>
                  </a:lnTo>
                  <a:lnTo>
                    <a:pt x="1699" y="2198"/>
                  </a:lnTo>
                  <a:lnTo>
                    <a:pt x="2465" y="2910"/>
                  </a:lnTo>
                  <a:lnTo>
                    <a:pt x="2465" y="4778"/>
                  </a:lnTo>
                  <a:cubicBezTo>
                    <a:pt x="2371" y="4825"/>
                    <a:pt x="2331" y="4941"/>
                    <a:pt x="2379" y="5037"/>
                  </a:cubicBezTo>
                  <a:cubicBezTo>
                    <a:pt x="2426" y="5132"/>
                    <a:pt x="2542" y="5171"/>
                    <a:pt x="2638" y="5124"/>
                  </a:cubicBezTo>
                  <a:cubicBezTo>
                    <a:pt x="2733" y="5077"/>
                    <a:pt x="2772" y="4961"/>
                    <a:pt x="2725" y="4864"/>
                  </a:cubicBezTo>
                  <a:cubicBezTo>
                    <a:pt x="2707" y="4827"/>
                    <a:pt x="2676" y="4797"/>
                    <a:pt x="2638" y="4778"/>
                  </a:cubicBezTo>
                  <a:lnTo>
                    <a:pt x="2640" y="4778"/>
                  </a:lnTo>
                  <a:lnTo>
                    <a:pt x="2640" y="2836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5" name="Freeform 11"/>
            <p:cNvSpPr>
              <a:spLocks noChangeArrowheads="1"/>
            </p:cNvSpPr>
            <p:nvPr/>
          </p:nvSpPr>
          <p:spPr bwMode="auto">
            <a:xfrm>
              <a:off x="5930900" y="1577975"/>
              <a:ext cx="280988" cy="1128713"/>
            </a:xfrm>
            <a:custGeom>
              <a:avLst/>
              <a:gdLst>
                <a:gd name="T0" fmla="*/ 134 w 780"/>
                <a:gd name="T1" fmla="*/ 1308 h 3136"/>
                <a:gd name="T2" fmla="*/ 134 w 780"/>
                <a:gd name="T3" fmla="*/ 2742 h 3136"/>
                <a:gd name="T4" fmla="*/ 47 w 780"/>
                <a:gd name="T5" fmla="*/ 3002 h 3136"/>
                <a:gd name="T6" fmla="*/ 307 w 780"/>
                <a:gd name="T7" fmla="*/ 3088 h 3136"/>
                <a:gd name="T8" fmla="*/ 393 w 780"/>
                <a:gd name="T9" fmla="*/ 2828 h 3136"/>
                <a:gd name="T10" fmla="*/ 307 w 780"/>
                <a:gd name="T11" fmla="*/ 2742 h 3136"/>
                <a:gd name="T12" fmla="*/ 307 w 780"/>
                <a:gd name="T13" fmla="*/ 1385 h 3136"/>
                <a:gd name="T14" fmla="*/ 648 w 780"/>
                <a:gd name="T15" fmla="*/ 1062 h 3136"/>
                <a:gd name="T16" fmla="*/ 648 w 780"/>
                <a:gd name="T17" fmla="*/ 399 h 3136"/>
                <a:gd name="T18" fmla="*/ 627 w 780"/>
                <a:gd name="T19" fmla="*/ 399 h 3136"/>
                <a:gd name="T20" fmla="*/ 743 w 780"/>
                <a:gd name="T21" fmla="*/ 152 h 3136"/>
                <a:gd name="T22" fmla="*/ 496 w 780"/>
                <a:gd name="T23" fmla="*/ 36 h 3136"/>
                <a:gd name="T24" fmla="*/ 380 w 780"/>
                <a:gd name="T25" fmla="*/ 283 h 3136"/>
                <a:gd name="T26" fmla="*/ 496 w 780"/>
                <a:gd name="T27" fmla="*/ 399 h 3136"/>
                <a:gd name="T28" fmla="*/ 475 w 780"/>
                <a:gd name="T29" fmla="*/ 399 h 3136"/>
                <a:gd name="T30" fmla="*/ 475 w 780"/>
                <a:gd name="T31" fmla="*/ 988 h 3136"/>
                <a:gd name="T32" fmla="*/ 134 w 780"/>
                <a:gd name="T33" fmla="*/ 1308 h 3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0" h="3136">
                  <a:moveTo>
                    <a:pt x="134" y="1308"/>
                  </a:moveTo>
                  <a:lnTo>
                    <a:pt x="134" y="2742"/>
                  </a:lnTo>
                  <a:cubicBezTo>
                    <a:pt x="39" y="2789"/>
                    <a:pt x="0" y="2905"/>
                    <a:pt x="47" y="3002"/>
                  </a:cubicBezTo>
                  <a:cubicBezTo>
                    <a:pt x="94" y="3096"/>
                    <a:pt x="210" y="3135"/>
                    <a:pt x="307" y="3088"/>
                  </a:cubicBezTo>
                  <a:cubicBezTo>
                    <a:pt x="401" y="3041"/>
                    <a:pt x="441" y="2925"/>
                    <a:pt x="393" y="2828"/>
                  </a:cubicBezTo>
                  <a:cubicBezTo>
                    <a:pt x="375" y="2791"/>
                    <a:pt x="344" y="2762"/>
                    <a:pt x="307" y="2742"/>
                  </a:cubicBezTo>
                  <a:lnTo>
                    <a:pt x="307" y="1385"/>
                  </a:lnTo>
                  <a:lnTo>
                    <a:pt x="648" y="1062"/>
                  </a:lnTo>
                  <a:lnTo>
                    <a:pt x="648" y="399"/>
                  </a:lnTo>
                  <a:lnTo>
                    <a:pt x="627" y="399"/>
                  </a:lnTo>
                  <a:cubicBezTo>
                    <a:pt x="726" y="363"/>
                    <a:pt x="779" y="252"/>
                    <a:pt x="743" y="152"/>
                  </a:cubicBezTo>
                  <a:cubicBezTo>
                    <a:pt x="707" y="52"/>
                    <a:pt x="596" y="0"/>
                    <a:pt x="496" y="36"/>
                  </a:cubicBezTo>
                  <a:cubicBezTo>
                    <a:pt x="397" y="72"/>
                    <a:pt x="344" y="183"/>
                    <a:pt x="380" y="283"/>
                  </a:cubicBezTo>
                  <a:cubicBezTo>
                    <a:pt x="400" y="337"/>
                    <a:pt x="442" y="379"/>
                    <a:pt x="496" y="399"/>
                  </a:cubicBezTo>
                  <a:lnTo>
                    <a:pt x="475" y="399"/>
                  </a:lnTo>
                  <a:lnTo>
                    <a:pt x="475" y="988"/>
                  </a:lnTo>
                  <a:lnTo>
                    <a:pt x="134" y="130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6" name="Freeform 12"/>
            <p:cNvSpPr>
              <a:spLocks noChangeArrowheads="1"/>
            </p:cNvSpPr>
            <p:nvPr/>
          </p:nvSpPr>
          <p:spPr bwMode="auto">
            <a:xfrm>
              <a:off x="6515100" y="1920875"/>
              <a:ext cx="273050" cy="733425"/>
            </a:xfrm>
            <a:custGeom>
              <a:avLst/>
              <a:gdLst>
                <a:gd name="T0" fmla="*/ 754 w 757"/>
                <a:gd name="T1" fmla="*/ 193 h 2037"/>
                <a:gd name="T2" fmla="*/ 560 w 757"/>
                <a:gd name="T3" fmla="*/ 0 h 2037"/>
                <a:gd name="T4" fmla="*/ 367 w 757"/>
                <a:gd name="T5" fmla="*/ 194 h 2037"/>
                <a:gd name="T6" fmla="*/ 473 w 757"/>
                <a:gd name="T7" fmla="*/ 366 h 2037"/>
                <a:gd name="T8" fmla="*/ 473 w 757"/>
                <a:gd name="T9" fmla="*/ 1030 h 2037"/>
                <a:gd name="T10" fmla="*/ 132 w 757"/>
                <a:gd name="T11" fmla="*/ 1350 h 2037"/>
                <a:gd name="T12" fmla="*/ 132 w 757"/>
                <a:gd name="T13" fmla="*/ 1643 h 2037"/>
                <a:gd name="T14" fmla="*/ 137 w 757"/>
                <a:gd name="T15" fmla="*/ 1643 h 2037"/>
                <a:gd name="T16" fmla="*/ 44 w 757"/>
                <a:gd name="T17" fmla="*/ 1899 h 2037"/>
                <a:gd name="T18" fmla="*/ 300 w 757"/>
                <a:gd name="T19" fmla="*/ 1992 h 2037"/>
                <a:gd name="T20" fmla="*/ 393 w 757"/>
                <a:gd name="T21" fmla="*/ 1736 h 2037"/>
                <a:gd name="T22" fmla="*/ 300 w 757"/>
                <a:gd name="T23" fmla="*/ 1643 h 2037"/>
                <a:gd name="T24" fmla="*/ 305 w 757"/>
                <a:gd name="T25" fmla="*/ 1643 h 2037"/>
                <a:gd name="T26" fmla="*/ 305 w 757"/>
                <a:gd name="T27" fmla="*/ 1427 h 2037"/>
                <a:gd name="T28" fmla="*/ 646 w 757"/>
                <a:gd name="T29" fmla="*/ 1107 h 2037"/>
                <a:gd name="T30" fmla="*/ 646 w 757"/>
                <a:gd name="T31" fmla="*/ 366 h 2037"/>
                <a:gd name="T32" fmla="*/ 754 w 757"/>
                <a:gd name="T33" fmla="*/ 193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7" h="2037">
                  <a:moveTo>
                    <a:pt x="754" y="193"/>
                  </a:moveTo>
                  <a:cubicBezTo>
                    <a:pt x="754" y="86"/>
                    <a:pt x="668" y="0"/>
                    <a:pt x="560" y="0"/>
                  </a:cubicBezTo>
                  <a:cubicBezTo>
                    <a:pt x="454" y="0"/>
                    <a:pt x="367" y="86"/>
                    <a:pt x="367" y="194"/>
                  </a:cubicBezTo>
                  <a:cubicBezTo>
                    <a:pt x="367" y="268"/>
                    <a:pt x="408" y="333"/>
                    <a:pt x="473" y="366"/>
                  </a:cubicBezTo>
                  <a:lnTo>
                    <a:pt x="473" y="1030"/>
                  </a:lnTo>
                  <a:lnTo>
                    <a:pt x="132" y="1350"/>
                  </a:lnTo>
                  <a:lnTo>
                    <a:pt x="132" y="1643"/>
                  </a:lnTo>
                  <a:lnTo>
                    <a:pt x="137" y="1643"/>
                  </a:lnTo>
                  <a:cubicBezTo>
                    <a:pt x="40" y="1688"/>
                    <a:pt x="0" y="1803"/>
                    <a:pt x="44" y="1899"/>
                  </a:cubicBezTo>
                  <a:cubicBezTo>
                    <a:pt x="89" y="1995"/>
                    <a:pt x="204" y="2036"/>
                    <a:pt x="300" y="1992"/>
                  </a:cubicBezTo>
                  <a:cubicBezTo>
                    <a:pt x="396" y="1948"/>
                    <a:pt x="437" y="1832"/>
                    <a:pt x="393" y="1736"/>
                  </a:cubicBezTo>
                  <a:cubicBezTo>
                    <a:pt x="374" y="1695"/>
                    <a:pt x="341" y="1662"/>
                    <a:pt x="300" y="1643"/>
                  </a:cubicBezTo>
                  <a:lnTo>
                    <a:pt x="305" y="1643"/>
                  </a:lnTo>
                  <a:lnTo>
                    <a:pt x="305" y="1427"/>
                  </a:lnTo>
                  <a:lnTo>
                    <a:pt x="646" y="1107"/>
                  </a:lnTo>
                  <a:lnTo>
                    <a:pt x="646" y="366"/>
                  </a:lnTo>
                  <a:cubicBezTo>
                    <a:pt x="713" y="333"/>
                    <a:pt x="756" y="266"/>
                    <a:pt x="754" y="19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7" name="Freeform 13"/>
            <p:cNvSpPr>
              <a:spLocks noChangeArrowheads="1"/>
            </p:cNvSpPr>
            <p:nvPr/>
          </p:nvSpPr>
          <p:spPr bwMode="auto">
            <a:xfrm>
              <a:off x="5921375" y="2038350"/>
              <a:ext cx="573088" cy="1593850"/>
            </a:xfrm>
            <a:custGeom>
              <a:avLst/>
              <a:gdLst>
                <a:gd name="T0" fmla="*/ 1399 w 1593"/>
                <a:gd name="T1" fmla="*/ 385 h 4427"/>
                <a:gd name="T2" fmla="*/ 1592 w 1593"/>
                <a:gd name="T3" fmla="*/ 193 h 4427"/>
                <a:gd name="T4" fmla="*/ 1399 w 1593"/>
                <a:gd name="T5" fmla="*/ 0 h 4427"/>
                <a:gd name="T6" fmla="*/ 1206 w 1593"/>
                <a:gd name="T7" fmla="*/ 193 h 4427"/>
                <a:gd name="T8" fmla="*/ 1216 w 1593"/>
                <a:gd name="T9" fmla="*/ 250 h 4427"/>
                <a:gd name="T10" fmla="*/ 668 w 1593"/>
                <a:gd name="T11" fmla="*/ 769 h 4427"/>
                <a:gd name="T12" fmla="*/ 661 w 1593"/>
                <a:gd name="T13" fmla="*/ 1772 h 4427"/>
                <a:gd name="T14" fmla="*/ 142 w 1593"/>
                <a:gd name="T15" fmla="*/ 2281 h 4427"/>
                <a:gd name="T16" fmla="*/ 142 w 1593"/>
                <a:gd name="T17" fmla="*/ 4028 h 4427"/>
                <a:gd name="T18" fmla="*/ 44 w 1593"/>
                <a:gd name="T19" fmla="*/ 4284 h 4427"/>
                <a:gd name="T20" fmla="*/ 300 w 1593"/>
                <a:gd name="T21" fmla="*/ 4382 h 4427"/>
                <a:gd name="T22" fmla="*/ 398 w 1593"/>
                <a:gd name="T23" fmla="*/ 4125 h 4427"/>
                <a:gd name="T24" fmla="*/ 315 w 1593"/>
                <a:gd name="T25" fmla="*/ 4034 h 4427"/>
                <a:gd name="T26" fmla="*/ 315 w 1593"/>
                <a:gd name="T27" fmla="*/ 2353 h 4427"/>
                <a:gd name="T28" fmla="*/ 834 w 1593"/>
                <a:gd name="T29" fmla="*/ 1845 h 4427"/>
                <a:gd name="T30" fmla="*/ 841 w 1593"/>
                <a:gd name="T31" fmla="*/ 841 h 4427"/>
                <a:gd name="T32" fmla="*/ 1337 w 1593"/>
                <a:gd name="T33" fmla="*/ 374 h 4427"/>
                <a:gd name="T34" fmla="*/ 1399 w 1593"/>
                <a:gd name="T35" fmla="*/ 385 h 4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93" h="4427">
                  <a:moveTo>
                    <a:pt x="1399" y="385"/>
                  </a:moveTo>
                  <a:cubicBezTo>
                    <a:pt x="1505" y="385"/>
                    <a:pt x="1592" y="299"/>
                    <a:pt x="1592" y="193"/>
                  </a:cubicBezTo>
                  <a:cubicBezTo>
                    <a:pt x="1592" y="87"/>
                    <a:pt x="1505" y="0"/>
                    <a:pt x="1399" y="0"/>
                  </a:cubicBezTo>
                  <a:cubicBezTo>
                    <a:pt x="1293" y="0"/>
                    <a:pt x="1206" y="87"/>
                    <a:pt x="1206" y="193"/>
                  </a:cubicBezTo>
                  <a:cubicBezTo>
                    <a:pt x="1206" y="212"/>
                    <a:pt x="1210" y="232"/>
                    <a:pt x="1216" y="250"/>
                  </a:cubicBezTo>
                  <a:lnTo>
                    <a:pt x="668" y="769"/>
                  </a:lnTo>
                  <a:lnTo>
                    <a:pt x="661" y="1772"/>
                  </a:lnTo>
                  <a:lnTo>
                    <a:pt x="142" y="2281"/>
                  </a:lnTo>
                  <a:lnTo>
                    <a:pt x="142" y="4028"/>
                  </a:lnTo>
                  <a:cubicBezTo>
                    <a:pt x="44" y="4072"/>
                    <a:pt x="0" y="4186"/>
                    <a:pt x="44" y="4284"/>
                  </a:cubicBezTo>
                  <a:cubicBezTo>
                    <a:pt x="88" y="4382"/>
                    <a:pt x="202" y="4426"/>
                    <a:pt x="300" y="4382"/>
                  </a:cubicBezTo>
                  <a:cubicBezTo>
                    <a:pt x="398" y="4338"/>
                    <a:pt x="442" y="4223"/>
                    <a:pt x="398" y="4125"/>
                  </a:cubicBezTo>
                  <a:cubicBezTo>
                    <a:pt x="382" y="4086"/>
                    <a:pt x="352" y="4055"/>
                    <a:pt x="315" y="4034"/>
                  </a:cubicBezTo>
                  <a:lnTo>
                    <a:pt x="315" y="2353"/>
                  </a:lnTo>
                  <a:lnTo>
                    <a:pt x="834" y="1845"/>
                  </a:lnTo>
                  <a:lnTo>
                    <a:pt x="841" y="841"/>
                  </a:lnTo>
                  <a:lnTo>
                    <a:pt x="1337" y="374"/>
                  </a:lnTo>
                  <a:cubicBezTo>
                    <a:pt x="1355" y="381"/>
                    <a:pt x="1376" y="385"/>
                    <a:pt x="1399" y="38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8" name="Freeform 14"/>
            <p:cNvSpPr>
              <a:spLocks noChangeArrowheads="1"/>
            </p:cNvSpPr>
            <p:nvPr/>
          </p:nvSpPr>
          <p:spPr bwMode="auto">
            <a:xfrm>
              <a:off x="6142038" y="1693863"/>
              <a:ext cx="261937" cy="454025"/>
            </a:xfrm>
            <a:custGeom>
              <a:avLst/>
              <a:gdLst>
                <a:gd name="T0" fmla="*/ 727 w 728"/>
                <a:gd name="T1" fmla="*/ 192 h 1263"/>
                <a:gd name="T2" fmla="*/ 534 w 728"/>
                <a:gd name="T3" fmla="*/ 0 h 1263"/>
                <a:gd name="T4" fmla="*/ 342 w 728"/>
                <a:gd name="T5" fmla="*/ 192 h 1263"/>
                <a:gd name="T6" fmla="*/ 448 w 728"/>
                <a:gd name="T7" fmla="*/ 364 h 1263"/>
                <a:gd name="T8" fmla="*/ 448 w 728"/>
                <a:gd name="T9" fmla="*/ 754 h 1263"/>
                <a:gd name="T10" fmla="*/ 289 w 728"/>
                <a:gd name="T11" fmla="*/ 903 h 1263"/>
                <a:gd name="T12" fmla="*/ 193 w 728"/>
                <a:gd name="T13" fmla="*/ 876 h 1263"/>
                <a:gd name="T14" fmla="*/ 0 w 728"/>
                <a:gd name="T15" fmla="*/ 1069 h 1263"/>
                <a:gd name="T16" fmla="*/ 193 w 728"/>
                <a:gd name="T17" fmla="*/ 1262 h 1263"/>
                <a:gd name="T18" fmla="*/ 386 w 728"/>
                <a:gd name="T19" fmla="*/ 1069 h 1263"/>
                <a:gd name="T20" fmla="*/ 384 w 728"/>
                <a:gd name="T21" fmla="*/ 1051 h 1263"/>
                <a:gd name="T22" fmla="*/ 621 w 728"/>
                <a:gd name="T23" fmla="*/ 829 h 1263"/>
                <a:gd name="T24" fmla="*/ 621 w 728"/>
                <a:gd name="T25" fmla="*/ 364 h 1263"/>
                <a:gd name="T26" fmla="*/ 727 w 728"/>
                <a:gd name="T27" fmla="*/ 192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8" h="1263">
                  <a:moveTo>
                    <a:pt x="727" y="192"/>
                  </a:moveTo>
                  <a:cubicBezTo>
                    <a:pt x="727" y="86"/>
                    <a:pt x="640" y="0"/>
                    <a:pt x="534" y="0"/>
                  </a:cubicBezTo>
                  <a:cubicBezTo>
                    <a:pt x="428" y="0"/>
                    <a:pt x="342" y="86"/>
                    <a:pt x="342" y="192"/>
                  </a:cubicBezTo>
                  <a:cubicBezTo>
                    <a:pt x="342" y="267"/>
                    <a:pt x="386" y="333"/>
                    <a:pt x="448" y="364"/>
                  </a:cubicBezTo>
                  <a:lnTo>
                    <a:pt x="448" y="754"/>
                  </a:lnTo>
                  <a:lnTo>
                    <a:pt x="289" y="903"/>
                  </a:lnTo>
                  <a:cubicBezTo>
                    <a:pt x="262" y="886"/>
                    <a:pt x="229" y="876"/>
                    <a:pt x="193" y="876"/>
                  </a:cubicBezTo>
                  <a:cubicBezTo>
                    <a:pt x="87" y="876"/>
                    <a:pt x="0" y="963"/>
                    <a:pt x="0" y="1069"/>
                  </a:cubicBezTo>
                  <a:cubicBezTo>
                    <a:pt x="0" y="1175"/>
                    <a:pt x="87" y="1262"/>
                    <a:pt x="193" y="1262"/>
                  </a:cubicBezTo>
                  <a:cubicBezTo>
                    <a:pt x="299" y="1262"/>
                    <a:pt x="386" y="1175"/>
                    <a:pt x="386" y="1069"/>
                  </a:cubicBezTo>
                  <a:cubicBezTo>
                    <a:pt x="386" y="1063"/>
                    <a:pt x="384" y="1058"/>
                    <a:pt x="384" y="1051"/>
                  </a:cubicBezTo>
                  <a:lnTo>
                    <a:pt x="621" y="829"/>
                  </a:lnTo>
                  <a:lnTo>
                    <a:pt x="621" y="364"/>
                  </a:lnTo>
                  <a:cubicBezTo>
                    <a:pt x="683" y="333"/>
                    <a:pt x="727" y="267"/>
                    <a:pt x="727" y="19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593261" y="4058559"/>
            <a:ext cx="593063" cy="516113"/>
            <a:chOff x="8834092" y="4167766"/>
            <a:chExt cx="1712913" cy="1490662"/>
          </a:xfrm>
        </p:grpSpPr>
        <p:sp>
          <p:nvSpPr>
            <p:cNvPr id="722" name="Freeform 18"/>
            <p:cNvSpPr>
              <a:spLocks noChangeArrowheads="1"/>
            </p:cNvSpPr>
            <p:nvPr/>
          </p:nvSpPr>
          <p:spPr bwMode="auto">
            <a:xfrm>
              <a:off x="8834092" y="4167766"/>
              <a:ext cx="1712913" cy="1339850"/>
            </a:xfrm>
            <a:custGeom>
              <a:avLst/>
              <a:gdLst>
                <a:gd name="T0" fmla="*/ 4759 w 4760"/>
                <a:gd name="T1" fmla="*/ 3395 h 3724"/>
                <a:gd name="T2" fmla="*/ 4449 w 4760"/>
                <a:gd name="T3" fmla="*/ 3723 h 3724"/>
                <a:gd name="T4" fmla="*/ 310 w 4760"/>
                <a:gd name="T5" fmla="*/ 3723 h 3724"/>
                <a:gd name="T6" fmla="*/ 0 w 4760"/>
                <a:gd name="T7" fmla="*/ 3395 h 3724"/>
                <a:gd name="T8" fmla="*/ 0 w 4760"/>
                <a:gd name="T9" fmla="*/ 328 h 3724"/>
                <a:gd name="T10" fmla="*/ 310 w 4760"/>
                <a:gd name="T11" fmla="*/ 0 h 3724"/>
                <a:gd name="T12" fmla="*/ 4449 w 4760"/>
                <a:gd name="T13" fmla="*/ 0 h 3724"/>
                <a:gd name="T14" fmla="*/ 4759 w 4760"/>
                <a:gd name="T15" fmla="*/ 328 h 3724"/>
                <a:gd name="T16" fmla="*/ 4759 w 4760"/>
                <a:gd name="T17" fmla="*/ 3395 h 3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0" h="3724">
                  <a:moveTo>
                    <a:pt x="4759" y="3395"/>
                  </a:moveTo>
                  <a:cubicBezTo>
                    <a:pt x="4759" y="3576"/>
                    <a:pt x="4620" y="3723"/>
                    <a:pt x="4449" y="3723"/>
                  </a:cubicBezTo>
                  <a:lnTo>
                    <a:pt x="310" y="3723"/>
                  </a:lnTo>
                  <a:cubicBezTo>
                    <a:pt x="139" y="3723"/>
                    <a:pt x="0" y="3576"/>
                    <a:pt x="0" y="3395"/>
                  </a:cubicBezTo>
                  <a:lnTo>
                    <a:pt x="0" y="328"/>
                  </a:lnTo>
                  <a:cubicBezTo>
                    <a:pt x="0" y="147"/>
                    <a:pt x="139" y="0"/>
                    <a:pt x="310" y="0"/>
                  </a:cubicBezTo>
                  <a:lnTo>
                    <a:pt x="4449" y="0"/>
                  </a:lnTo>
                  <a:cubicBezTo>
                    <a:pt x="4620" y="0"/>
                    <a:pt x="4759" y="147"/>
                    <a:pt x="4759" y="328"/>
                  </a:cubicBezTo>
                  <a:lnTo>
                    <a:pt x="4759" y="3395"/>
                  </a:lnTo>
                </a:path>
              </a:pathLst>
            </a:cu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3" name="Line 19"/>
            <p:cNvSpPr>
              <a:spLocks noChangeShapeType="1"/>
            </p:cNvSpPr>
            <p:nvPr/>
          </p:nvSpPr>
          <p:spPr bwMode="auto">
            <a:xfrm>
              <a:off x="9169055" y="5656841"/>
              <a:ext cx="1042987" cy="1587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4" name="Line 20"/>
            <p:cNvSpPr>
              <a:spLocks noChangeShapeType="1"/>
            </p:cNvSpPr>
            <p:nvPr/>
          </p:nvSpPr>
          <p:spPr bwMode="auto">
            <a:xfrm>
              <a:off x="9653242" y="5509203"/>
              <a:ext cx="1588" cy="149225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5" name="Freeform 21"/>
            <p:cNvSpPr>
              <a:spLocks noChangeArrowheads="1"/>
            </p:cNvSpPr>
            <p:nvPr/>
          </p:nvSpPr>
          <p:spPr bwMode="auto">
            <a:xfrm>
              <a:off x="9653242" y="5321878"/>
              <a:ext cx="74613" cy="74613"/>
            </a:xfrm>
            <a:custGeom>
              <a:avLst/>
              <a:gdLst>
                <a:gd name="T0" fmla="*/ 205 w 206"/>
                <a:gd name="T1" fmla="*/ 103 h 207"/>
                <a:gd name="T2" fmla="*/ 192 w 206"/>
                <a:gd name="T3" fmla="*/ 155 h 207"/>
                <a:gd name="T4" fmla="*/ 154 w 206"/>
                <a:gd name="T5" fmla="*/ 192 h 207"/>
                <a:gd name="T6" fmla="*/ 103 w 206"/>
                <a:gd name="T7" fmla="*/ 206 h 207"/>
                <a:gd name="T8" fmla="*/ 51 w 206"/>
                <a:gd name="T9" fmla="*/ 192 h 207"/>
                <a:gd name="T10" fmla="*/ 13 w 206"/>
                <a:gd name="T11" fmla="*/ 155 h 207"/>
                <a:gd name="T12" fmla="*/ 0 w 206"/>
                <a:gd name="T13" fmla="*/ 103 h 207"/>
                <a:gd name="T14" fmla="*/ 13 w 206"/>
                <a:gd name="T15" fmla="*/ 52 h 207"/>
                <a:gd name="T16" fmla="*/ 51 w 206"/>
                <a:gd name="T17" fmla="*/ 14 h 207"/>
                <a:gd name="T18" fmla="*/ 103 w 206"/>
                <a:gd name="T19" fmla="*/ 0 h 207"/>
                <a:gd name="T20" fmla="*/ 154 w 206"/>
                <a:gd name="T21" fmla="*/ 14 h 207"/>
                <a:gd name="T22" fmla="*/ 192 w 206"/>
                <a:gd name="T23" fmla="*/ 52 h 207"/>
                <a:gd name="T24" fmla="*/ 205 w 206"/>
                <a:gd name="T25" fmla="*/ 10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6" h="207">
                  <a:moveTo>
                    <a:pt x="205" y="103"/>
                  </a:moveTo>
                  <a:cubicBezTo>
                    <a:pt x="205" y="122"/>
                    <a:pt x="201" y="139"/>
                    <a:pt x="192" y="155"/>
                  </a:cubicBezTo>
                  <a:cubicBezTo>
                    <a:pt x="182" y="172"/>
                    <a:pt x="170" y="183"/>
                    <a:pt x="154" y="192"/>
                  </a:cubicBezTo>
                  <a:cubicBezTo>
                    <a:pt x="138" y="202"/>
                    <a:pt x="121" y="206"/>
                    <a:pt x="103" y="206"/>
                  </a:cubicBezTo>
                  <a:cubicBezTo>
                    <a:pt x="84" y="206"/>
                    <a:pt x="67" y="202"/>
                    <a:pt x="51" y="192"/>
                  </a:cubicBezTo>
                  <a:cubicBezTo>
                    <a:pt x="35" y="183"/>
                    <a:pt x="22" y="172"/>
                    <a:pt x="13" y="155"/>
                  </a:cubicBezTo>
                  <a:cubicBezTo>
                    <a:pt x="3" y="139"/>
                    <a:pt x="0" y="122"/>
                    <a:pt x="0" y="103"/>
                  </a:cubicBezTo>
                  <a:cubicBezTo>
                    <a:pt x="0" y="84"/>
                    <a:pt x="3" y="69"/>
                    <a:pt x="13" y="52"/>
                  </a:cubicBezTo>
                  <a:cubicBezTo>
                    <a:pt x="22" y="36"/>
                    <a:pt x="35" y="24"/>
                    <a:pt x="51" y="14"/>
                  </a:cubicBezTo>
                  <a:cubicBezTo>
                    <a:pt x="67" y="5"/>
                    <a:pt x="84" y="0"/>
                    <a:pt x="103" y="0"/>
                  </a:cubicBezTo>
                  <a:cubicBezTo>
                    <a:pt x="121" y="0"/>
                    <a:pt x="138" y="5"/>
                    <a:pt x="154" y="14"/>
                  </a:cubicBezTo>
                  <a:cubicBezTo>
                    <a:pt x="170" y="24"/>
                    <a:pt x="182" y="36"/>
                    <a:pt x="192" y="52"/>
                  </a:cubicBezTo>
                  <a:cubicBezTo>
                    <a:pt x="201" y="69"/>
                    <a:pt x="205" y="84"/>
                    <a:pt x="205" y="103"/>
                  </a:cubicBezTo>
                </a:path>
              </a:pathLst>
            </a:cu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6" name="Line 22"/>
            <p:cNvSpPr>
              <a:spLocks noChangeShapeType="1"/>
            </p:cNvSpPr>
            <p:nvPr/>
          </p:nvSpPr>
          <p:spPr bwMode="auto">
            <a:xfrm>
              <a:off x="8834092" y="5210753"/>
              <a:ext cx="1712913" cy="1588"/>
            </a:xfrm>
            <a:prstGeom prst="line">
              <a:avLst/>
            </a:prstGeom>
            <a:noFill/>
            <a:ln w="12700" cap="sq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7" name="Freeform 23"/>
            <p:cNvSpPr>
              <a:spLocks noChangeArrowheads="1"/>
            </p:cNvSpPr>
            <p:nvPr/>
          </p:nvSpPr>
          <p:spPr bwMode="auto">
            <a:xfrm>
              <a:off x="9019830" y="4316991"/>
              <a:ext cx="746125" cy="746125"/>
            </a:xfrm>
            <a:custGeom>
              <a:avLst/>
              <a:gdLst>
                <a:gd name="T0" fmla="*/ 2071 w 2072"/>
                <a:gd name="T1" fmla="*/ 1036 h 2072"/>
                <a:gd name="T2" fmla="*/ 1932 w 2072"/>
                <a:gd name="T3" fmla="*/ 1553 h 2072"/>
                <a:gd name="T4" fmla="*/ 1553 w 2072"/>
                <a:gd name="T5" fmla="*/ 1932 h 2072"/>
                <a:gd name="T6" fmla="*/ 1036 w 2072"/>
                <a:gd name="T7" fmla="*/ 2071 h 2072"/>
                <a:gd name="T8" fmla="*/ 518 w 2072"/>
                <a:gd name="T9" fmla="*/ 1932 h 2072"/>
                <a:gd name="T10" fmla="*/ 139 w 2072"/>
                <a:gd name="T11" fmla="*/ 1553 h 2072"/>
                <a:gd name="T12" fmla="*/ 0 w 2072"/>
                <a:gd name="T13" fmla="*/ 1036 h 2072"/>
                <a:gd name="T14" fmla="*/ 139 w 2072"/>
                <a:gd name="T15" fmla="*/ 518 h 2072"/>
                <a:gd name="T16" fmla="*/ 518 w 2072"/>
                <a:gd name="T17" fmla="*/ 139 h 2072"/>
                <a:gd name="T18" fmla="*/ 1036 w 2072"/>
                <a:gd name="T19" fmla="*/ 0 h 2072"/>
                <a:gd name="T20" fmla="*/ 1553 w 2072"/>
                <a:gd name="T21" fmla="*/ 139 h 2072"/>
                <a:gd name="T22" fmla="*/ 1932 w 2072"/>
                <a:gd name="T23" fmla="*/ 518 h 2072"/>
                <a:gd name="T24" fmla="*/ 2071 w 2072"/>
                <a:gd name="T25" fmla="*/ 1036 h 2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72" h="2072">
                  <a:moveTo>
                    <a:pt x="2071" y="1036"/>
                  </a:moveTo>
                  <a:cubicBezTo>
                    <a:pt x="2071" y="1226"/>
                    <a:pt x="2027" y="1388"/>
                    <a:pt x="1932" y="1553"/>
                  </a:cubicBezTo>
                  <a:cubicBezTo>
                    <a:pt x="1837" y="1718"/>
                    <a:pt x="1718" y="1837"/>
                    <a:pt x="1553" y="1932"/>
                  </a:cubicBezTo>
                  <a:cubicBezTo>
                    <a:pt x="1388" y="2028"/>
                    <a:pt x="1226" y="2071"/>
                    <a:pt x="1036" y="2071"/>
                  </a:cubicBezTo>
                  <a:cubicBezTo>
                    <a:pt x="845" y="2071"/>
                    <a:pt x="683" y="2028"/>
                    <a:pt x="518" y="1932"/>
                  </a:cubicBezTo>
                  <a:cubicBezTo>
                    <a:pt x="353" y="1837"/>
                    <a:pt x="234" y="1718"/>
                    <a:pt x="139" y="1553"/>
                  </a:cubicBezTo>
                  <a:cubicBezTo>
                    <a:pt x="44" y="1388"/>
                    <a:pt x="0" y="1227"/>
                    <a:pt x="0" y="1036"/>
                  </a:cubicBezTo>
                  <a:cubicBezTo>
                    <a:pt x="0" y="846"/>
                    <a:pt x="44" y="683"/>
                    <a:pt x="139" y="518"/>
                  </a:cubicBezTo>
                  <a:cubicBezTo>
                    <a:pt x="234" y="353"/>
                    <a:pt x="353" y="234"/>
                    <a:pt x="518" y="139"/>
                  </a:cubicBezTo>
                  <a:cubicBezTo>
                    <a:pt x="683" y="44"/>
                    <a:pt x="845" y="0"/>
                    <a:pt x="1036" y="0"/>
                  </a:cubicBezTo>
                  <a:cubicBezTo>
                    <a:pt x="1226" y="0"/>
                    <a:pt x="1388" y="44"/>
                    <a:pt x="1553" y="139"/>
                  </a:cubicBezTo>
                  <a:cubicBezTo>
                    <a:pt x="1718" y="234"/>
                    <a:pt x="1837" y="353"/>
                    <a:pt x="1932" y="518"/>
                  </a:cubicBezTo>
                  <a:cubicBezTo>
                    <a:pt x="2027" y="683"/>
                    <a:pt x="2071" y="845"/>
                    <a:pt x="2071" y="1036"/>
                  </a:cubicBezTo>
                </a:path>
              </a:pathLst>
            </a:cu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8" name="Freeform 24"/>
            <p:cNvSpPr>
              <a:spLocks noChangeArrowheads="1"/>
            </p:cNvSpPr>
            <p:nvPr/>
          </p:nvSpPr>
          <p:spPr bwMode="auto">
            <a:xfrm>
              <a:off x="9392892" y="4382078"/>
              <a:ext cx="239713" cy="593725"/>
            </a:xfrm>
            <a:custGeom>
              <a:avLst/>
              <a:gdLst>
                <a:gd name="T0" fmla="*/ 584 w 664"/>
                <a:gd name="T1" fmla="*/ 0 h 1648"/>
                <a:gd name="T2" fmla="*/ 0 w 664"/>
                <a:gd name="T3" fmla="*/ 854 h 1648"/>
                <a:gd name="T4" fmla="*/ 663 w 664"/>
                <a:gd name="T5" fmla="*/ 1647 h 1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4" h="1648">
                  <a:moveTo>
                    <a:pt x="584" y="0"/>
                  </a:moveTo>
                  <a:lnTo>
                    <a:pt x="0" y="854"/>
                  </a:lnTo>
                  <a:lnTo>
                    <a:pt x="663" y="1647"/>
                  </a:lnTo>
                </a:path>
              </a:pathLst>
            </a:cu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9" name="Line 25"/>
            <p:cNvSpPr>
              <a:spLocks noChangeShapeType="1"/>
            </p:cNvSpPr>
            <p:nvPr/>
          </p:nvSpPr>
          <p:spPr bwMode="auto">
            <a:xfrm flipH="1">
              <a:off x="9018242" y="4690053"/>
              <a:ext cx="376238" cy="1588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0" name="Line 26"/>
            <p:cNvSpPr>
              <a:spLocks noChangeShapeType="1"/>
            </p:cNvSpPr>
            <p:nvPr/>
          </p:nvSpPr>
          <p:spPr bwMode="auto">
            <a:xfrm>
              <a:off x="9913592" y="4391603"/>
              <a:ext cx="446088" cy="1588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1" name="Line 27"/>
            <p:cNvSpPr>
              <a:spLocks noChangeShapeType="1"/>
            </p:cNvSpPr>
            <p:nvPr/>
          </p:nvSpPr>
          <p:spPr bwMode="auto">
            <a:xfrm flipV="1">
              <a:off x="9913592" y="4612435"/>
              <a:ext cx="466787" cy="3007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2" name="Line 28"/>
            <p:cNvSpPr>
              <a:spLocks noChangeShapeType="1"/>
            </p:cNvSpPr>
            <p:nvPr/>
          </p:nvSpPr>
          <p:spPr bwMode="auto">
            <a:xfrm>
              <a:off x="9913592" y="4837691"/>
              <a:ext cx="446088" cy="1587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98E8BCA7-2A46-4A58-9095-668169DA9494}"/>
              </a:ext>
            </a:extLst>
          </p:cNvPr>
          <p:cNvSpPr/>
          <p:nvPr/>
        </p:nvSpPr>
        <p:spPr>
          <a:xfrm>
            <a:off x="1029082" y="3106875"/>
            <a:ext cx="471885" cy="238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4EAEEADD-8CE1-443A-B935-7EE499FFAD45}"/>
              </a:ext>
            </a:extLst>
          </p:cNvPr>
          <p:cNvGrpSpPr/>
          <p:nvPr/>
        </p:nvGrpSpPr>
        <p:grpSpPr>
          <a:xfrm>
            <a:off x="1026957" y="3943993"/>
            <a:ext cx="476134" cy="467582"/>
            <a:chOff x="2549926" y="1227604"/>
            <a:chExt cx="5177116" cy="5084148"/>
          </a:xfrm>
        </p:grpSpPr>
        <p:sp>
          <p:nvSpPr>
            <p:cNvPr id="205" name="Freeform: Shape 583">
              <a:extLst>
                <a:ext uri="{FF2B5EF4-FFF2-40B4-BE49-F238E27FC236}">
                  <a16:creationId xmlns:a16="http://schemas.microsoft.com/office/drawing/2014/main" id="{F2B35AA8-8718-4590-A107-3CFFCFB74F8C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A3043977-89CB-4A95-A293-16F283986B94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7829CCA2-178D-4D6B-9FC5-2630A342B21D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22563FEF-DAD4-4A23-BB45-EAC541594376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BDED1F1B-F2B0-4F8B-BFAD-0BAD3388FE23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D936F1BB-B5F7-4834-A484-F4A349C3F6CA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68FB4239-4769-4815-B8FE-88E8D3A8B968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2" name="Cylinder 590">
              <a:extLst>
                <a:ext uri="{FF2B5EF4-FFF2-40B4-BE49-F238E27FC236}">
                  <a16:creationId xmlns:a16="http://schemas.microsoft.com/office/drawing/2014/main" id="{34C16495-DC70-480D-ADF0-7781670E2479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accent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62F33"/>
                </a:soli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057440" y="5042294"/>
            <a:ext cx="415168" cy="307754"/>
            <a:chOff x="-2575176" y="-1203590"/>
            <a:chExt cx="3082012" cy="2284628"/>
          </a:xfrm>
          <a:solidFill>
            <a:schemeClr val="accent1"/>
          </a:solidFill>
        </p:grpSpPr>
        <p:sp>
          <p:nvSpPr>
            <p:cNvPr id="214" name="Freeform 42"/>
            <p:cNvSpPr>
              <a:spLocks/>
            </p:cNvSpPr>
            <p:nvPr/>
          </p:nvSpPr>
          <p:spPr bwMode="auto">
            <a:xfrm>
              <a:off x="-2542324" y="188092"/>
              <a:ext cx="462897" cy="621177"/>
            </a:xfrm>
            <a:custGeom>
              <a:avLst/>
              <a:gdLst>
                <a:gd name="T0" fmla="*/ 363 w 2335"/>
                <a:gd name="T1" fmla="*/ 2397 h 3120"/>
                <a:gd name="T2" fmla="*/ 250 w 2335"/>
                <a:gd name="T3" fmla="*/ 2251 h 3120"/>
                <a:gd name="T4" fmla="*/ 168 w 2335"/>
                <a:gd name="T5" fmla="*/ 2133 h 3120"/>
                <a:gd name="T6" fmla="*/ 122 w 2335"/>
                <a:gd name="T7" fmla="*/ 2060 h 3120"/>
                <a:gd name="T8" fmla="*/ 40 w 2335"/>
                <a:gd name="T9" fmla="*/ 1892 h 3120"/>
                <a:gd name="T10" fmla="*/ 5 w 2335"/>
                <a:gd name="T11" fmla="*/ 1733 h 3120"/>
                <a:gd name="T12" fmla="*/ 3 w 2335"/>
                <a:gd name="T13" fmla="*/ 1613 h 3120"/>
                <a:gd name="T14" fmla="*/ 20 w 2335"/>
                <a:gd name="T15" fmla="*/ 1485 h 3120"/>
                <a:gd name="T16" fmla="*/ 63 w 2335"/>
                <a:gd name="T17" fmla="*/ 1347 h 3120"/>
                <a:gd name="T18" fmla="*/ 136 w 2335"/>
                <a:gd name="T19" fmla="*/ 1200 h 3120"/>
                <a:gd name="T20" fmla="*/ 264 w 2335"/>
                <a:gd name="T21" fmla="*/ 1014 h 3120"/>
                <a:gd name="T22" fmla="*/ 411 w 2335"/>
                <a:gd name="T23" fmla="*/ 815 h 3120"/>
                <a:gd name="T24" fmla="*/ 625 w 2335"/>
                <a:gd name="T25" fmla="*/ 551 h 3120"/>
                <a:gd name="T26" fmla="*/ 1110 w 2335"/>
                <a:gd name="T27" fmla="*/ 0 h 3120"/>
                <a:gd name="T28" fmla="*/ 1021 w 2335"/>
                <a:gd name="T29" fmla="*/ 632 h 3120"/>
                <a:gd name="T30" fmla="*/ 993 w 2335"/>
                <a:gd name="T31" fmla="*/ 666 h 3120"/>
                <a:gd name="T32" fmla="*/ 940 w 2335"/>
                <a:gd name="T33" fmla="*/ 730 h 3120"/>
                <a:gd name="T34" fmla="*/ 868 w 2335"/>
                <a:gd name="T35" fmla="*/ 815 h 3120"/>
                <a:gd name="T36" fmla="*/ 691 w 2335"/>
                <a:gd name="T37" fmla="*/ 1029 h 3120"/>
                <a:gd name="T38" fmla="*/ 507 w 2335"/>
                <a:gd name="T39" fmla="*/ 1258 h 3120"/>
                <a:gd name="T40" fmla="*/ 412 w 2335"/>
                <a:gd name="T41" fmla="*/ 1397 h 3120"/>
                <a:gd name="T42" fmla="*/ 370 w 2335"/>
                <a:gd name="T43" fmla="*/ 1498 h 3120"/>
                <a:gd name="T44" fmla="*/ 350 w 2335"/>
                <a:gd name="T45" fmla="*/ 1587 h 3120"/>
                <a:gd name="T46" fmla="*/ 358 w 2335"/>
                <a:gd name="T47" fmla="*/ 1709 h 3120"/>
                <a:gd name="T48" fmla="*/ 390 w 2335"/>
                <a:gd name="T49" fmla="*/ 1792 h 3120"/>
                <a:gd name="T50" fmla="*/ 401 w 2335"/>
                <a:gd name="T51" fmla="*/ 1809 h 3120"/>
                <a:gd name="T52" fmla="*/ 404 w 2335"/>
                <a:gd name="T53" fmla="*/ 1813 h 3120"/>
                <a:gd name="T54" fmla="*/ 418 w 2335"/>
                <a:gd name="T55" fmla="*/ 1833 h 3120"/>
                <a:gd name="T56" fmla="*/ 460 w 2335"/>
                <a:gd name="T57" fmla="*/ 1895 h 3120"/>
                <a:gd name="T58" fmla="*/ 555 w 2335"/>
                <a:gd name="T59" fmla="*/ 2020 h 3120"/>
                <a:gd name="T60" fmla="*/ 684 w 2335"/>
                <a:gd name="T61" fmla="*/ 2179 h 3120"/>
                <a:gd name="T62" fmla="*/ 839 w 2335"/>
                <a:gd name="T63" fmla="*/ 2347 h 3120"/>
                <a:gd name="T64" fmla="*/ 1011 w 2335"/>
                <a:gd name="T65" fmla="*/ 2505 h 3120"/>
                <a:gd name="T66" fmla="*/ 1192 w 2335"/>
                <a:gd name="T67" fmla="*/ 2631 h 3120"/>
                <a:gd name="T68" fmla="*/ 1329 w 2335"/>
                <a:gd name="T69" fmla="*/ 2693 h 3120"/>
                <a:gd name="T70" fmla="*/ 1418 w 2335"/>
                <a:gd name="T71" fmla="*/ 2712 h 3120"/>
                <a:gd name="T72" fmla="*/ 1581 w 2335"/>
                <a:gd name="T73" fmla="*/ 2713 h 3120"/>
                <a:gd name="T74" fmla="*/ 1680 w 2335"/>
                <a:gd name="T75" fmla="*/ 2691 h 3120"/>
                <a:gd name="T76" fmla="*/ 1771 w 2335"/>
                <a:gd name="T77" fmla="*/ 2642 h 3120"/>
                <a:gd name="T78" fmla="*/ 1875 w 2335"/>
                <a:gd name="T79" fmla="*/ 2556 h 3120"/>
                <a:gd name="T80" fmla="*/ 2029 w 2335"/>
                <a:gd name="T81" fmla="*/ 2386 h 3120"/>
                <a:gd name="T82" fmla="*/ 2173 w 2335"/>
                <a:gd name="T83" fmla="*/ 2220 h 3120"/>
                <a:gd name="T84" fmla="*/ 2241 w 2335"/>
                <a:gd name="T85" fmla="*/ 2559 h 3120"/>
                <a:gd name="T86" fmla="*/ 2212 w 2335"/>
                <a:gd name="T87" fmla="*/ 2604 h 3120"/>
                <a:gd name="T88" fmla="*/ 2146 w 2335"/>
                <a:gd name="T89" fmla="*/ 2704 h 3120"/>
                <a:gd name="T90" fmla="*/ 2018 w 2335"/>
                <a:gd name="T91" fmla="*/ 2865 h 3120"/>
                <a:gd name="T92" fmla="*/ 1842 w 2335"/>
                <a:gd name="T93" fmla="*/ 3013 h 3120"/>
                <a:gd name="T94" fmla="*/ 1737 w 2335"/>
                <a:gd name="T95" fmla="*/ 3069 h 3120"/>
                <a:gd name="T96" fmla="*/ 1634 w 2335"/>
                <a:gd name="T97" fmla="*/ 3107 h 3120"/>
                <a:gd name="T98" fmla="*/ 1540 w 2335"/>
                <a:gd name="T99" fmla="*/ 3119 h 3120"/>
                <a:gd name="T100" fmla="*/ 1404 w 2335"/>
                <a:gd name="T101" fmla="*/ 3115 h 3120"/>
                <a:gd name="T102" fmla="*/ 1285 w 2335"/>
                <a:gd name="T103" fmla="*/ 3093 h 3120"/>
                <a:gd name="T104" fmla="*/ 1162 w 2335"/>
                <a:gd name="T105" fmla="*/ 3053 h 3120"/>
                <a:gd name="T106" fmla="*/ 1038 w 2335"/>
                <a:gd name="T107" fmla="*/ 2997 h 3120"/>
                <a:gd name="T108" fmla="*/ 912 w 2335"/>
                <a:gd name="T109" fmla="*/ 2922 h 3120"/>
                <a:gd name="T110" fmla="*/ 784 w 2335"/>
                <a:gd name="T111" fmla="*/ 2830 h 3120"/>
                <a:gd name="T112" fmla="*/ 656 w 2335"/>
                <a:gd name="T113" fmla="*/ 2721 h 3120"/>
                <a:gd name="T114" fmla="*/ 528 w 2335"/>
                <a:gd name="T115" fmla="*/ 2593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5" h="3120">
                  <a:moveTo>
                    <a:pt x="496" y="2559"/>
                  </a:moveTo>
                  <a:lnTo>
                    <a:pt x="427" y="2478"/>
                  </a:lnTo>
                  <a:lnTo>
                    <a:pt x="395" y="2437"/>
                  </a:lnTo>
                  <a:lnTo>
                    <a:pt x="363" y="2397"/>
                  </a:lnTo>
                  <a:lnTo>
                    <a:pt x="333" y="2359"/>
                  </a:lnTo>
                  <a:lnTo>
                    <a:pt x="304" y="2322"/>
                  </a:lnTo>
                  <a:lnTo>
                    <a:pt x="276" y="2286"/>
                  </a:lnTo>
                  <a:lnTo>
                    <a:pt x="250" y="2251"/>
                  </a:lnTo>
                  <a:lnTo>
                    <a:pt x="227" y="2218"/>
                  </a:lnTo>
                  <a:lnTo>
                    <a:pt x="205" y="2188"/>
                  </a:lnTo>
                  <a:lnTo>
                    <a:pt x="185" y="2159"/>
                  </a:lnTo>
                  <a:lnTo>
                    <a:pt x="168" y="2133"/>
                  </a:lnTo>
                  <a:lnTo>
                    <a:pt x="152" y="2111"/>
                  </a:lnTo>
                  <a:lnTo>
                    <a:pt x="140" y="2090"/>
                  </a:lnTo>
                  <a:lnTo>
                    <a:pt x="130" y="2074"/>
                  </a:lnTo>
                  <a:lnTo>
                    <a:pt x="122" y="2060"/>
                  </a:lnTo>
                  <a:lnTo>
                    <a:pt x="100" y="2023"/>
                  </a:lnTo>
                  <a:lnTo>
                    <a:pt x="77" y="1983"/>
                  </a:lnTo>
                  <a:lnTo>
                    <a:pt x="57" y="1939"/>
                  </a:lnTo>
                  <a:lnTo>
                    <a:pt x="40" y="1892"/>
                  </a:lnTo>
                  <a:lnTo>
                    <a:pt x="24" y="1842"/>
                  </a:lnTo>
                  <a:lnTo>
                    <a:pt x="13" y="1789"/>
                  </a:lnTo>
                  <a:lnTo>
                    <a:pt x="9" y="1762"/>
                  </a:lnTo>
                  <a:lnTo>
                    <a:pt x="5" y="1733"/>
                  </a:lnTo>
                  <a:lnTo>
                    <a:pt x="3" y="1704"/>
                  </a:lnTo>
                  <a:lnTo>
                    <a:pt x="1" y="1675"/>
                  </a:lnTo>
                  <a:lnTo>
                    <a:pt x="0" y="1644"/>
                  </a:lnTo>
                  <a:lnTo>
                    <a:pt x="3" y="1613"/>
                  </a:lnTo>
                  <a:lnTo>
                    <a:pt x="5" y="1582"/>
                  </a:lnTo>
                  <a:lnTo>
                    <a:pt x="9" y="1549"/>
                  </a:lnTo>
                  <a:lnTo>
                    <a:pt x="14" y="1518"/>
                  </a:lnTo>
                  <a:lnTo>
                    <a:pt x="20" y="1485"/>
                  </a:lnTo>
                  <a:lnTo>
                    <a:pt x="28" y="1451"/>
                  </a:lnTo>
                  <a:lnTo>
                    <a:pt x="39" y="1417"/>
                  </a:lnTo>
                  <a:lnTo>
                    <a:pt x="50" y="1382"/>
                  </a:lnTo>
                  <a:lnTo>
                    <a:pt x="63" y="1347"/>
                  </a:lnTo>
                  <a:lnTo>
                    <a:pt x="79" y="1310"/>
                  </a:lnTo>
                  <a:lnTo>
                    <a:pt x="95" y="1274"/>
                  </a:lnTo>
                  <a:lnTo>
                    <a:pt x="115" y="1237"/>
                  </a:lnTo>
                  <a:lnTo>
                    <a:pt x="136" y="1200"/>
                  </a:lnTo>
                  <a:lnTo>
                    <a:pt x="158" y="1163"/>
                  </a:lnTo>
                  <a:lnTo>
                    <a:pt x="184" y="1125"/>
                  </a:lnTo>
                  <a:lnTo>
                    <a:pt x="224" y="1068"/>
                  </a:lnTo>
                  <a:lnTo>
                    <a:pt x="264" y="1014"/>
                  </a:lnTo>
                  <a:lnTo>
                    <a:pt x="302" y="961"/>
                  </a:lnTo>
                  <a:lnTo>
                    <a:pt x="339" y="911"/>
                  </a:lnTo>
                  <a:lnTo>
                    <a:pt x="375" y="861"/>
                  </a:lnTo>
                  <a:lnTo>
                    <a:pt x="411" y="815"/>
                  </a:lnTo>
                  <a:lnTo>
                    <a:pt x="447" y="769"/>
                  </a:lnTo>
                  <a:lnTo>
                    <a:pt x="483" y="723"/>
                  </a:lnTo>
                  <a:lnTo>
                    <a:pt x="554" y="637"/>
                  </a:lnTo>
                  <a:lnTo>
                    <a:pt x="625" y="551"/>
                  </a:lnTo>
                  <a:lnTo>
                    <a:pt x="699" y="465"/>
                  </a:lnTo>
                  <a:lnTo>
                    <a:pt x="738" y="422"/>
                  </a:lnTo>
                  <a:lnTo>
                    <a:pt x="776" y="377"/>
                  </a:lnTo>
                  <a:lnTo>
                    <a:pt x="1110" y="0"/>
                  </a:lnTo>
                  <a:lnTo>
                    <a:pt x="1277" y="433"/>
                  </a:lnTo>
                  <a:lnTo>
                    <a:pt x="1026" y="627"/>
                  </a:lnTo>
                  <a:lnTo>
                    <a:pt x="1025" y="628"/>
                  </a:lnTo>
                  <a:lnTo>
                    <a:pt x="1021" y="632"/>
                  </a:lnTo>
                  <a:lnTo>
                    <a:pt x="1017" y="637"/>
                  </a:lnTo>
                  <a:lnTo>
                    <a:pt x="1011" y="645"/>
                  </a:lnTo>
                  <a:lnTo>
                    <a:pt x="1003" y="654"/>
                  </a:lnTo>
                  <a:lnTo>
                    <a:pt x="993" y="666"/>
                  </a:lnTo>
                  <a:lnTo>
                    <a:pt x="981" y="679"/>
                  </a:lnTo>
                  <a:lnTo>
                    <a:pt x="969" y="695"/>
                  </a:lnTo>
                  <a:lnTo>
                    <a:pt x="954" y="711"/>
                  </a:lnTo>
                  <a:lnTo>
                    <a:pt x="940" y="730"/>
                  </a:lnTo>
                  <a:lnTo>
                    <a:pt x="923" y="749"/>
                  </a:lnTo>
                  <a:lnTo>
                    <a:pt x="906" y="770"/>
                  </a:lnTo>
                  <a:lnTo>
                    <a:pt x="887" y="792"/>
                  </a:lnTo>
                  <a:lnTo>
                    <a:pt x="868" y="815"/>
                  </a:lnTo>
                  <a:lnTo>
                    <a:pt x="827" y="864"/>
                  </a:lnTo>
                  <a:lnTo>
                    <a:pt x="783" y="917"/>
                  </a:lnTo>
                  <a:lnTo>
                    <a:pt x="738" y="973"/>
                  </a:lnTo>
                  <a:lnTo>
                    <a:pt x="691" y="1029"/>
                  </a:lnTo>
                  <a:lnTo>
                    <a:pt x="645" y="1087"/>
                  </a:lnTo>
                  <a:lnTo>
                    <a:pt x="597" y="1145"/>
                  </a:lnTo>
                  <a:lnTo>
                    <a:pt x="552" y="1202"/>
                  </a:lnTo>
                  <a:lnTo>
                    <a:pt x="507" y="1258"/>
                  </a:lnTo>
                  <a:lnTo>
                    <a:pt x="465" y="1313"/>
                  </a:lnTo>
                  <a:lnTo>
                    <a:pt x="445" y="1341"/>
                  </a:lnTo>
                  <a:lnTo>
                    <a:pt x="428" y="1369"/>
                  </a:lnTo>
                  <a:lnTo>
                    <a:pt x="412" y="1397"/>
                  </a:lnTo>
                  <a:lnTo>
                    <a:pt x="399" y="1423"/>
                  </a:lnTo>
                  <a:lnTo>
                    <a:pt x="388" y="1448"/>
                  </a:lnTo>
                  <a:lnTo>
                    <a:pt x="378" y="1474"/>
                  </a:lnTo>
                  <a:lnTo>
                    <a:pt x="370" y="1498"/>
                  </a:lnTo>
                  <a:lnTo>
                    <a:pt x="363" y="1522"/>
                  </a:lnTo>
                  <a:lnTo>
                    <a:pt x="358" y="1544"/>
                  </a:lnTo>
                  <a:lnTo>
                    <a:pt x="354" y="1566"/>
                  </a:lnTo>
                  <a:lnTo>
                    <a:pt x="350" y="1587"/>
                  </a:lnTo>
                  <a:lnTo>
                    <a:pt x="349" y="1607"/>
                  </a:lnTo>
                  <a:lnTo>
                    <a:pt x="348" y="1644"/>
                  </a:lnTo>
                  <a:lnTo>
                    <a:pt x="351" y="1678"/>
                  </a:lnTo>
                  <a:lnTo>
                    <a:pt x="358" y="1709"/>
                  </a:lnTo>
                  <a:lnTo>
                    <a:pt x="365" y="1735"/>
                  </a:lnTo>
                  <a:lnTo>
                    <a:pt x="373" y="1758"/>
                  </a:lnTo>
                  <a:lnTo>
                    <a:pt x="381" y="1777"/>
                  </a:lnTo>
                  <a:lnTo>
                    <a:pt x="390" y="1792"/>
                  </a:lnTo>
                  <a:lnTo>
                    <a:pt x="393" y="1798"/>
                  </a:lnTo>
                  <a:lnTo>
                    <a:pt x="396" y="1802"/>
                  </a:lnTo>
                  <a:lnTo>
                    <a:pt x="399" y="1806"/>
                  </a:lnTo>
                  <a:lnTo>
                    <a:pt x="401" y="1809"/>
                  </a:lnTo>
                  <a:lnTo>
                    <a:pt x="402" y="1810"/>
                  </a:lnTo>
                  <a:lnTo>
                    <a:pt x="402" y="1811"/>
                  </a:lnTo>
                  <a:lnTo>
                    <a:pt x="403" y="1811"/>
                  </a:lnTo>
                  <a:lnTo>
                    <a:pt x="404" y="1813"/>
                  </a:lnTo>
                  <a:lnTo>
                    <a:pt x="406" y="1816"/>
                  </a:lnTo>
                  <a:lnTo>
                    <a:pt x="409" y="1821"/>
                  </a:lnTo>
                  <a:lnTo>
                    <a:pt x="413" y="1827"/>
                  </a:lnTo>
                  <a:lnTo>
                    <a:pt x="418" y="1833"/>
                  </a:lnTo>
                  <a:lnTo>
                    <a:pt x="423" y="1841"/>
                  </a:lnTo>
                  <a:lnTo>
                    <a:pt x="429" y="1849"/>
                  </a:lnTo>
                  <a:lnTo>
                    <a:pt x="443" y="1870"/>
                  </a:lnTo>
                  <a:lnTo>
                    <a:pt x="460" y="1895"/>
                  </a:lnTo>
                  <a:lnTo>
                    <a:pt x="480" y="1921"/>
                  </a:lnTo>
                  <a:lnTo>
                    <a:pt x="502" y="1952"/>
                  </a:lnTo>
                  <a:lnTo>
                    <a:pt x="528" y="1985"/>
                  </a:lnTo>
                  <a:lnTo>
                    <a:pt x="555" y="2020"/>
                  </a:lnTo>
                  <a:lnTo>
                    <a:pt x="584" y="2058"/>
                  </a:lnTo>
                  <a:lnTo>
                    <a:pt x="616" y="2096"/>
                  </a:lnTo>
                  <a:lnTo>
                    <a:pt x="649" y="2138"/>
                  </a:lnTo>
                  <a:lnTo>
                    <a:pt x="684" y="2179"/>
                  </a:lnTo>
                  <a:lnTo>
                    <a:pt x="720" y="2220"/>
                  </a:lnTo>
                  <a:lnTo>
                    <a:pt x="758" y="2263"/>
                  </a:lnTo>
                  <a:lnTo>
                    <a:pt x="797" y="2305"/>
                  </a:lnTo>
                  <a:lnTo>
                    <a:pt x="839" y="2347"/>
                  </a:lnTo>
                  <a:lnTo>
                    <a:pt x="880" y="2388"/>
                  </a:lnTo>
                  <a:lnTo>
                    <a:pt x="922" y="2429"/>
                  </a:lnTo>
                  <a:lnTo>
                    <a:pt x="967" y="2468"/>
                  </a:lnTo>
                  <a:lnTo>
                    <a:pt x="1011" y="2505"/>
                  </a:lnTo>
                  <a:lnTo>
                    <a:pt x="1055" y="2540"/>
                  </a:lnTo>
                  <a:lnTo>
                    <a:pt x="1101" y="2573"/>
                  </a:lnTo>
                  <a:lnTo>
                    <a:pt x="1146" y="2604"/>
                  </a:lnTo>
                  <a:lnTo>
                    <a:pt x="1192" y="2631"/>
                  </a:lnTo>
                  <a:lnTo>
                    <a:pt x="1237" y="2656"/>
                  </a:lnTo>
                  <a:lnTo>
                    <a:pt x="1284" y="2676"/>
                  </a:lnTo>
                  <a:lnTo>
                    <a:pt x="1306" y="2685"/>
                  </a:lnTo>
                  <a:lnTo>
                    <a:pt x="1329" y="2693"/>
                  </a:lnTo>
                  <a:lnTo>
                    <a:pt x="1351" y="2699"/>
                  </a:lnTo>
                  <a:lnTo>
                    <a:pt x="1373" y="2704"/>
                  </a:lnTo>
                  <a:lnTo>
                    <a:pt x="1396" y="2709"/>
                  </a:lnTo>
                  <a:lnTo>
                    <a:pt x="1418" y="2712"/>
                  </a:lnTo>
                  <a:lnTo>
                    <a:pt x="1441" y="2714"/>
                  </a:lnTo>
                  <a:lnTo>
                    <a:pt x="1462" y="2714"/>
                  </a:lnTo>
                  <a:lnTo>
                    <a:pt x="1555" y="2714"/>
                  </a:lnTo>
                  <a:lnTo>
                    <a:pt x="1581" y="2713"/>
                  </a:lnTo>
                  <a:lnTo>
                    <a:pt x="1607" y="2710"/>
                  </a:lnTo>
                  <a:lnTo>
                    <a:pt x="1632" y="2706"/>
                  </a:lnTo>
                  <a:lnTo>
                    <a:pt x="1656" y="2699"/>
                  </a:lnTo>
                  <a:lnTo>
                    <a:pt x="1680" y="2691"/>
                  </a:lnTo>
                  <a:lnTo>
                    <a:pt x="1704" y="2681"/>
                  </a:lnTo>
                  <a:lnTo>
                    <a:pt x="1727" y="2669"/>
                  </a:lnTo>
                  <a:lnTo>
                    <a:pt x="1749" y="2657"/>
                  </a:lnTo>
                  <a:lnTo>
                    <a:pt x="1771" y="2642"/>
                  </a:lnTo>
                  <a:lnTo>
                    <a:pt x="1793" y="2628"/>
                  </a:lnTo>
                  <a:lnTo>
                    <a:pt x="1814" y="2611"/>
                  </a:lnTo>
                  <a:lnTo>
                    <a:pt x="1835" y="2594"/>
                  </a:lnTo>
                  <a:lnTo>
                    <a:pt x="1875" y="2556"/>
                  </a:lnTo>
                  <a:lnTo>
                    <a:pt x="1915" y="2516"/>
                  </a:lnTo>
                  <a:lnTo>
                    <a:pt x="1954" y="2473"/>
                  </a:lnTo>
                  <a:lnTo>
                    <a:pt x="1992" y="2430"/>
                  </a:lnTo>
                  <a:lnTo>
                    <a:pt x="2029" y="2386"/>
                  </a:lnTo>
                  <a:lnTo>
                    <a:pt x="2065" y="2343"/>
                  </a:lnTo>
                  <a:lnTo>
                    <a:pt x="2101" y="2299"/>
                  </a:lnTo>
                  <a:lnTo>
                    <a:pt x="2137" y="2258"/>
                  </a:lnTo>
                  <a:lnTo>
                    <a:pt x="2173" y="2220"/>
                  </a:lnTo>
                  <a:lnTo>
                    <a:pt x="2192" y="2202"/>
                  </a:lnTo>
                  <a:lnTo>
                    <a:pt x="2210" y="2185"/>
                  </a:lnTo>
                  <a:lnTo>
                    <a:pt x="2335" y="2371"/>
                  </a:lnTo>
                  <a:lnTo>
                    <a:pt x="2241" y="2559"/>
                  </a:lnTo>
                  <a:lnTo>
                    <a:pt x="2234" y="2568"/>
                  </a:lnTo>
                  <a:lnTo>
                    <a:pt x="2228" y="2579"/>
                  </a:lnTo>
                  <a:lnTo>
                    <a:pt x="2220" y="2591"/>
                  </a:lnTo>
                  <a:lnTo>
                    <a:pt x="2212" y="2604"/>
                  </a:lnTo>
                  <a:lnTo>
                    <a:pt x="2202" y="2619"/>
                  </a:lnTo>
                  <a:lnTo>
                    <a:pt x="2193" y="2634"/>
                  </a:lnTo>
                  <a:lnTo>
                    <a:pt x="2171" y="2668"/>
                  </a:lnTo>
                  <a:lnTo>
                    <a:pt x="2146" y="2704"/>
                  </a:lnTo>
                  <a:lnTo>
                    <a:pt x="2119" y="2743"/>
                  </a:lnTo>
                  <a:lnTo>
                    <a:pt x="2088" y="2783"/>
                  </a:lnTo>
                  <a:lnTo>
                    <a:pt x="2054" y="2824"/>
                  </a:lnTo>
                  <a:lnTo>
                    <a:pt x="2018" y="2865"/>
                  </a:lnTo>
                  <a:lnTo>
                    <a:pt x="1978" y="2905"/>
                  </a:lnTo>
                  <a:lnTo>
                    <a:pt x="1936" y="2943"/>
                  </a:lnTo>
                  <a:lnTo>
                    <a:pt x="1891" y="2980"/>
                  </a:lnTo>
                  <a:lnTo>
                    <a:pt x="1842" y="3013"/>
                  </a:lnTo>
                  <a:lnTo>
                    <a:pt x="1817" y="3029"/>
                  </a:lnTo>
                  <a:lnTo>
                    <a:pt x="1792" y="3043"/>
                  </a:lnTo>
                  <a:lnTo>
                    <a:pt x="1765" y="3056"/>
                  </a:lnTo>
                  <a:lnTo>
                    <a:pt x="1737" y="3069"/>
                  </a:lnTo>
                  <a:lnTo>
                    <a:pt x="1709" y="3079"/>
                  </a:lnTo>
                  <a:lnTo>
                    <a:pt x="1680" y="3088"/>
                  </a:lnTo>
                  <a:lnTo>
                    <a:pt x="1657" y="3099"/>
                  </a:lnTo>
                  <a:lnTo>
                    <a:pt x="1634" y="3107"/>
                  </a:lnTo>
                  <a:lnTo>
                    <a:pt x="1610" y="3112"/>
                  </a:lnTo>
                  <a:lnTo>
                    <a:pt x="1587" y="3116"/>
                  </a:lnTo>
                  <a:lnTo>
                    <a:pt x="1563" y="3118"/>
                  </a:lnTo>
                  <a:lnTo>
                    <a:pt x="1540" y="3119"/>
                  </a:lnTo>
                  <a:lnTo>
                    <a:pt x="1493" y="3120"/>
                  </a:lnTo>
                  <a:lnTo>
                    <a:pt x="1463" y="3119"/>
                  </a:lnTo>
                  <a:lnTo>
                    <a:pt x="1434" y="3118"/>
                  </a:lnTo>
                  <a:lnTo>
                    <a:pt x="1404" y="3115"/>
                  </a:lnTo>
                  <a:lnTo>
                    <a:pt x="1374" y="3111"/>
                  </a:lnTo>
                  <a:lnTo>
                    <a:pt x="1345" y="3106"/>
                  </a:lnTo>
                  <a:lnTo>
                    <a:pt x="1315" y="3101"/>
                  </a:lnTo>
                  <a:lnTo>
                    <a:pt x="1285" y="3093"/>
                  </a:lnTo>
                  <a:lnTo>
                    <a:pt x="1254" y="3085"/>
                  </a:lnTo>
                  <a:lnTo>
                    <a:pt x="1224" y="3076"/>
                  </a:lnTo>
                  <a:lnTo>
                    <a:pt x="1193" y="3066"/>
                  </a:lnTo>
                  <a:lnTo>
                    <a:pt x="1162" y="3053"/>
                  </a:lnTo>
                  <a:lnTo>
                    <a:pt x="1131" y="3041"/>
                  </a:lnTo>
                  <a:lnTo>
                    <a:pt x="1100" y="3028"/>
                  </a:lnTo>
                  <a:lnTo>
                    <a:pt x="1069" y="3013"/>
                  </a:lnTo>
                  <a:lnTo>
                    <a:pt x="1038" y="2997"/>
                  </a:lnTo>
                  <a:lnTo>
                    <a:pt x="1006" y="2980"/>
                  </a:lnTo>
                  <a:lnTo>
                    <a:pt x="975" y="2962"/>
                  </a:lnTo>
                  <a:lnTo>
                    <a:pt x="943" y="2942"/>
                  </a:lnTo>
                  <a:lnTo>
                    <a:pt x="912" y="2922"/>
                  </a:lnTo>
                  <a:lnTo>
                    <a:pt x="880" y="2901"/>
                  </a:lnTo>
                  <a:lnTo>
                    <a:pt x="848" y="2878"/>
                  </a:lnTo>
                  <a:lnTo>
                    <a:pt x="816" y="2855"/>
                  </a:lnTo>
                  <a:lnTo>
                    <a:pt x="784" y="2830"/>
                  </a:lnTo>
                  <a:lnTo>
                    <a:pt x="752" y="2804"/>
                  </a:lnTo>
                  <a:lnTo>
                    <a:pt x="720" y="2777"/>
                  </a:lnTo>
                  <a:lnTo>
                    <a:pt x="688" y="2749"/>
                  </a:lnTo>
                  <a:lnTo>
                    <a:pt x="656" y="2721"/>
                  </a:lnTo>
                  <a:lnTo>
                    <a:pt x="624" y="2691"/>
                  </a:lnTo>
                  <a:lnTo>
                    <a:pt x="592" y="2659"/>
                  </a:lnTo>
                  <a:lnTo>
                    <a:pt x="560" y="2627"/>
                  </a:lnTo>
                  <a:lnTo>
                    <a:pt x="528" y="2593"/>
                  </a:lnTo>
                  <a:lnTo>
                    <a:pt x="496" y="2559"/>
                  </a:lnTo>
                  <a:lnTo>
                    <a:pt x="496" y="25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5" name="Freeform 43"/>
            <p:cNvSpPr>
              <a:spLocks/>
            </p:cNvSpPr>
            <p:nvPr/>
          </p:nvSpPr>
          <p:spPr bwMode="auto">
            <a:xfrm>
              <a:off x="-986390" y="340396"/>
              <a:ext cx="477832" cy="651044"/>
            </a:xfrm>
            <a:custGeom>
              <a:avLst/>
              <a:gdLst>
                <a:gd name="T0" fmla="*/ 77 w 2403"/>
                <a:gd name="T1" fmla="*/ 3032 h 3283"/>
                <a:gd name="T2" fmla="*/ 19 w 2403"/>
                <a:gd name="T3" fmla="*/ 2902 h 3283"/>
                <a:gd name="T4" fmla="*/ 1 w 2403"/>
                <a:gd name="T5" fmla="*/ 2781 h 3283"/>
                <a:gd name="T6" fmla="*/ 2 w 2403"/>
                <a:gd name="T7" fmla="*/ 2687 h 3283"/>
                <a:gd name="T8" fmla="*/ 377 w 2403"/>
                <a:gd name="T9" fmla="*/ 2720 h 3283"/>
                <a:gd name="T10" fmla="*/ 376 w 2403"/>
                <a:gd name="T11" fmla="*/ 2729 h 3283"/>
                <a:gd name="T12" fmla="*/ 378 w 2403"/>
                <a:gd name="T13" fmla="*/ 2789 h 3283"/>
                <a:gd name="T14" fmla="*/ 409 w 2403"/>
                <a:gd name="T15" fmla="*/ 2868 h 3283"/>
                <a:gd name="T16" fmla="*/ 453 w 2403"/>
                <a:gd name="T17" fmla="*/ 2911 h 3283"/>
                <a:gd name="T18" fmla="*/ 508 w 2403"/>
                <a:gd name="T19" fmla="*/ 2932 h 3283"/>
                <a:gd name="T20" fmla="*/ 1748 w 2403"/>
                <a:gd name="T21" fmla="*/ 2941 h 3283"/>
                <a:gd name="T22" fmla="*/ 1875 w 2403"/>
                <a:gd name="T23" fmla="*/ 2914 h 3283"/>
                <a:gd name="T24" fmla="*/ 1974 w 2403"/>
                <a:gd name="T25" fmla="*/ 2840 h 3283"/>
                <a:gd name="T26" fmla="*/ 2037 w 2403"/>
                <a:gd name="T27" fmla="*/ 2731 h 3283"/>
                <a:gd name="T28" fmla="*/ 2060 w 2403"/>
                <a:gd name="T29" fmla="*/ 2598 h 3283"/>
                <a:gd name="T30" fmla="*/ 2036 w 2403"/>
                <a:gd name="T31" fmla="*/ 2461 h 3283"/>
                <a:gd name="T32" fmla="*/ 1982 w 2403"/>
                <a:gd name="T33" fmla="*/ 2342 h 3283"/>
                <a:gd name="T34" fmla="*/ 1930 w 2403"/>
                <a:gd name="T35" fmla="*/ 2257 h 3283"/>
                <a:gd name="T36" fmla="*/ 1907 w 2403"/>
                <a:gd name="T37" fmla="*/ 2226 h 3283"/>
                <a:gd name="T38" fmla="*/ 1906 w 2403"/>
                <a:gd name="T39" fmla="*/ 2217 h 3283"/>
                <a:gd name="T40" fmla="*/ 1908 w 2403"/>
                <a:gd name="T41" fmla="*/ 2166 h 3283"/>
                <a:gd name="T42" fmla="*/ 1911 w 2403"/>
                <a:gd name="T43" fmla="*/ 2073 h 3283"/>
                <a:gd name="T44" fmla="*/ 1913 w 2403"/>
                <a:gd name="T45" fmla="*/ 1952 h 3283"/>
                <a:gd name="T46" fmla="*/ 1910 w 2403"/>
                <a:gd name="T47" fmla="*/ 1675 h 3283"/>
                <a:gd name="T48" fmla="*/ 1899 w 2403"/>
                <a:gd name="T49" fmla="*/ 1512 h 3283"/>
                <a:gd name="T50" fmla="*/ 1882 w 2403"/>
                <a:gd name="T51" fmla="*/ 1404 h 3283"/>
                <a:gd name="T52" fmla="*/ 1827 w 2403"/>
                <a:gd name="T53" fmla="*/ 1248 h 3283"/>
                <a:gd name="T54" fmla="*/ 1769 w 2403"/>
                <a:gd name="T55" fmla="*/ 1094 h 3283"/>
                <a:gd name="T56" fmla="*/ 1714 w 2403"/>
                <a:gd name="T57" fmla="*/ 965 h 3283"/>
                <a:gd name="T58" fmla="*/ 1618 w 2403"/>
                <a:gd name="T59" fmla="*/ 773 h 3283"/>
                <a:gd name="T60" fmla="*/ 1484 w 2403"/>
                <a:gd name="T61" fmla="*/ 567 h 3283"/>
                <a:gd name="T62" fmla="*/ 1373 w 2403"/>
                <a:gd name="T63" fmla="*/ 423 h 3283"/>
                <a:gd name="T64" fmla="*/ 1853 w 2403"/>
                <a:gd name="T65" fmla="*/ 489 h 3283"/>
                <a:gd name="T66" fmla="*/ 1888 w 2403"/>
                <a:gd name="T67" fmla="*/ 544 h 3283"/>
                <a:gd name="T68" fmla="*/ 1936 w 2403"/>
                <a:gd name="T69" fmla="*/ 622 h 3283"/>
                <a:gd name="T70" fmla="*/ 2034 w 2403"/>
                <a:gd name="T71" fmla="*/ 796 h 3283"/>
                <a:gd name="T72" fmla="*/ 2144 w 2403"/>
                <a:gd name="T73" fmla="*/ 1019 h 3283"/>
                <a:gd name="T74" fmla="*/ 2214 w 2403"/>
                <a:gd name="T75" fmla="*/ 1205 h 3283"/>
                <a:gd name="T76" fmla="*/ 2238 w 2403"/>
                <a:gd name="T77" fmla="*/ 1318 h 3283"/>
                <a:gd name="T78" fmla="*/ 2256 w 2403"/>
                <a:gd name="T79" fmla="*/ 1534 h 3283"/>
                <a:gd name="T80" fmla="*/ 2254 w 2403"/>
                <a:gd name="T81" fmla="*/ 1832 h 3283"/>
                <a:gd name="T82" fmla="*/ 2249 w 2403"/>
                <a:gd name="T83" fmla="*/ 2052 h 3283"/>
                <a:gd name="T84" fmla="*/ 2338 w 2403"/>
                <a:gd name="T85" fmla="*/ 2254 h 3283"/>
                <a:gd name="T86" fmla="*/ 2379 w 2403"/>
                <a:gd name="T87" fmla="*/ 2372 h 3283"/>
                <a:gd name="T88" fmla="*/ 2400 w 2403"/>
                <a:gd name="T89" fmla="*/ 2500 h 3283"/>
                <a:gd name="T90" fmla="*/ 2399 w 2403"/>
                <a:gd name="T91" fmla="*/ 2644 h 3283"/>
                <a:gd name="T92" fmla="*/ 2375 w 2403"/>
                <a:gd name="T93" fmla="*/ 2785 h 3283"/>
                <a:gd name="T94" fmla="*/ 2326 w 2403"/>
                <a:gd name="T95" fmla="*/ 2914 h 3283"/>
                <a:gd name="T96" fmla="*/ 2257 w 2403"/>
                <a:gd name="T97" fmla="*/ 3028 h 3283"/>
                <a:gd name="T98" fmla="*/ 2169 w 2403"/>
                <a:gd name="T99" fmla="*/ 3124 h 3283"/>
                <a:gd name="T100" fmla="*/ 2065 w 2403"/>
                <a:gd name="T101" fmla="*/ 3200 h 3283"/>
                <a:gd name="T102" fmla="*/ 1946 w 2403"/>
                <a:gd name="T103" fmla="*/ 3252 h 3283"/>
                <a:gd name="T104" fmla="*/ 1816 w 2403"/>
                <a:gd name="T105" fmla="*/ 3280 h 3283"/>
                <a:gd name="T106" fmla="*/ 528 w 2403"/>
                <a:gd name="T107" fmla="*/ 3280 h 3283"/>
                <a:gd name="T108" fmla="*/ 398 w 2403"/>
                <a:gd name="T109" fmla="*/ 3263 h 3283"/>
                <a:gd name="T110" fmla="*/ 282 w 2403"/>
                <a:gd name="T111" fmla="*/ 3221 h 3283"/>
                <a:gd name="T112" fmla="*/ 185 w 2403"/>
                <a:gd name="T113" fmla="*/ 3157 h 3283"/>
                <a:gd name="T114" fmla="*/ 126 w 2403"/>
                <a:gd name="T115" fmla="*/ 3093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3" h="3283">
                  <a:moveTo>
                    <a:pt x="126" y="3093"/>
                  </a:moveTo>
                  <a:lnTo>
                    <a:pt x="113" y="3078"/>
                  </a:lnTo>
                  <a:lnTo>
                    <a:pt x="99" y="3063"/>
                  </a:lnTo>
                  <a:lnTo>
                    <a:pt x="77" y="3032"/>
                  </a:lnTo>
                  <a:lnTo>
                    <a:pt x="57" y="3000"/>
                  </a:lnTo>
                  <a:lnTo>
                    <a:pt x="42" y="2967"/>
                  </a:lnTo>
                  <a:lnTo>
                    <a:pt x="29" y="2935"/>
                  </a:lnTo>
                  <a:lnTo>
                    <a:pt x="19" y="2902"/>
                  </a:lnTo>
                  <a:lnTo>
                    <a:pt x="12" y="2870"/>
                  </a:lnTo>
                  <a:lnTo>
                    <a:pt x="6" y="2839"/>
                  </a:lnTo>
                  <a:lnTo>
                    <a:pt x="3" y="2809"/>
                  </a:lnTo>
                  <a:lnTo>
                    <a:pt x="1" y="2781"/>
                  </a:lnTo>
                  <a:lnTo>
                    <a:pt x="0" y="2754"/>
                  </a:lnTo>
                  <a:lnTo>
                    <a:pt x="0" y="2729"/>
                  </a:lnTo>
                  <a:lnTo>
                    <a:pt x="1" y="2706"/>
                  </a:lnTo>
                  <a:lnTo>
                    <a:pt x="2" y="2687"/>
                  </a:lnTo>
                  <a:lnTo>
                    <a:pt x="2" y="2669"/>
                  </a:lnTo>
                  <a:lnTo>
                    <a:pt x="3" y="2656"/>
                  </a:lnTo>
                  <a:lnTo>
                    <a:pt x="341" y="2331"/>
                  </a:lnTo>
                  <a:lnTo>
                    <a:pt x="377" y="2720"/>
                  </a:lnTo>
                  <a:lnTo>
                    <a:pt x="377" y="2720"/>
                  </a:lnTo>
                  <a:lnTo>
                    <a:pt x="376" y="2722"/>
                  </a:lnTo>
                  <a:lnTo>
                    <a:pt x="376" y="2725"/>
                  </a:lnTo>
                  <a:lnTo>
                    <a:pt x="376" y="2729"/>
                  </a:lnTo>
                  <a:lnTo>
                    <a:pt x="375" y="2739"/>
                  </a:lnTo>
                  <a:lnTo>
                    <a:pt x="375" y="2754"/>
                  </a:lnTo>
                  <a:lnTo>
                    <a:pt x="376" y="2770"/>
                  </a:lnTo>
                  <a:lnTo>
                    <a:pt x="378" y="2789"/>
                  </a:lnTo>
                  <a:lnTo>
                    <a:pt x="382" y="2808"/>
                  </a:lnTo>
                  <a:lnTo>
                    <a:pt x="388" y="2829"/>
                  </a:lnTo>
                  <a:lnTo>
                    <a:pt x="397" y="2849"/>
                  </a:lnTo>
                  <a:lnTo>
                    <a:pt x="409" y="2868"/>
                  </a:lnTo>
                  <a:lnTo>
                    <a:pt x="424" y="2887"/>
                  </a:lnTo>
                  <a:lnTo>
                    <a:pt x="433" y="2896"/>
                  </a:lnTo>
                  <a:lnTo>
                    <a:pt x="442" y="2903"/>
                  </a:lnTo>
                  <a:lnTo>
                    <a:pt x="453" y="2911"/>
                  </a:lnTo>
                  <a:lnTo>
                    <a:pt x="466" y="2918"/>
                  </a:lnTo>
                  <a:lnTo>
                    <a:pt x="478" y="2924"/>
                  </a:lnTo>
                  <a:lnTo>
                    <a:pt x="493" y="2929"/>
                  </a:lnTo>
                  <a:lnTo>
                    <a:pt x="508" y="2932"/>
                  </a:lnTo>
                  <a:lnTo>
                    <a:pt x="526" y="2935"/>
                  </a:lnTo>
                  <a:lnTo>
                    <a:pt x="544" y="2937"/>
                  </a:lnTo>
                  <a:lnTo>
                    <a:pt x="564" y="2938"/>
                  </a:lnTo>
                  <a:lnTo>
                    <a:pt x="1748" y="2941"/>
                  </a:lnTo>
                  <a:lnTo>
                    <a:pt x="1782" y="2939"/>
                  </a:lnTo>
                  <a:lnTo>
                    <a:pt x="1815" y="2934"/>
                  </a:lnTo>
                  <a:lnTo>
                    <a:pt x="1846" y="2926"/>
                  </a:lnTo>
                  <a:lnTo>
                    <a:pt x="1875" y="2914"/>
                  </a:lnTo>
                  <a:lnTo>
                    <a:pt x="1903" y="2900"/>
                  </a:lnTo>
                  <a:lnTo>
                    <a:pt x="1929" y="2883"/>
                  </a:lnTo>
                  <a:lnTo>
                    <a:pt x="1952" y="2863"/>
                  </a:lnTo>
                  <a:lnTo>
                    <a:pt x="1974" y="2840"/>
                  </a:lnTo>
                  <a:lnTo>
                    <a:pt x="1993" y="2816"/>
                  </a:lnTo>
                  <a:lnTo>
                    <a:pt x="2010" y="2790"/>
                  </a:lnTo>
                  <a:lnTo>
                    <a:pt x="2025" y="2761"/>
                  </a:lnTo>
                  <a:lnTo>
                    <a:pt x="2037" y="2731"/>
                  </a:lnTo>
                  <a:lnTo>
                    <a:pt x="2047" y="2700"/>
                  </a:lnTo>
                  <a:lnTo>
                    <a:pt x="2055" y="2667"/>
                  </a:lnTo>
                  <a:lnTo>
                    <a:pt x="2059" y="2633"/>
                  </a:lnTo>
                  <a:lnTo>
                    <a:pt x="2060" y="2598"/>
                  </a:lnTo>
                  <a:lnTo>
                    <a:pt x="2059" y="2563"/>
                  </a:lnTo>
                  <a:lnTo>
                    <a:pt x="2054" y="2529"/>
                  </a:lnTo>
                  <a:lnTo>
                    <a:pt x="2046" y="2495"/>
                  </a:lnTo>
                  <a:lnTo>
                    <a:pt x="2036" y="2461"/>
                  </a:lnTo>
                  <a:lnTo>
                    <a:pt x="2025" y="2429"/>
                  </a:lnTo>
                  <a:lnTo>
                    <a:pt x="2011" y="2398"/>
                  </a:lnTo>
                  <a:lnTo>
                    <a:pt x="1997" y="2369"/>
                  </a:lnTo>
                  <a:lnTo>
                    <a:pt x="1982" y="2342"/>
                  </a:lnTo>
                  <a:lnTo>
                    <a:pt x="1968" y="2316"/>
                  </a:lnTo>
                  <a:lnTo>
                    <a:pt x="1954" y="2293"/>
                  </a:lnTo>
                  <a:lnTo>
                    <a:pt x="1941" y="2274"/>
                  </a:lnTo>
                  <a:lnTo>
                    <a:pt x="1930" y="2257"/>
                  </a:lnTo>
                  <a:lnTo>
                    <a:pt x="1919" y="2243"/>
                  </a:lnTo>
                  <a:lnTo>
                    <a:pt x="1912" y="2233"/>
                  </a:lnTo>
                  <a:lnTo>
                    <a:pt x="1909" y="2229"/>
                  </a:lnTo>
                  <a:lnTo>
                    <a:pt x="1907" y="2226"/>
                  </a:lnTo>
                  <a:lnTo>
                    <a:pt x="1906" y="2225"/>
                  </a:lnTo>
                  <a:lnTo>
                    <a:pt x="1905" y="2224"/>
                  </a:lnTo>
                  <a:lnTo>
                    <a:pt x="1905" y="2223"/>
                  </a:lnTo>
                  <a:lnTo>
                    <a:pt x="1906" y="2217"/>
                  </a:lnTo>
                  <a:lnTo>
                    <a:pt x="1906" y="2209"/>
                  </a:lnTo>
                  <a:lnTo>
                    <a:pt x="1907" y="2198"/>
                  </a:lnTo>
                  <a:lnTo>
                    <a:pt x="1907" y="2183"/>
                  </a:lnTo>
                  <a:lnTo>
                    <a:pt x="1908" y="2166"/>
                  </a:lnTo>
                  <a:lnTo>
                    <a:pt x="1909" y="2146"/>
                  </a:lnTo>
                  <a:lnTo>
                    <a:pt x="1909" y="2123"/>
                  </a:lnTo>
                  <a:lnTo>
                    <a:pt x="1910" y="2100"/>
                  </a:lnTo>
                  <a:lnTo>
                    <a:pt x="1911" y="2073"/>
                  </a:lnTo>
                  <a:lnTo>
                    <a:pt x="1911" y="2045"/>
                  </a:lnTo>
                  <a:lnTo>
                    <a:pt x="1912" y="2016"/>
                  </a:lnTo>
                  <a:lnTo>
                    <a:pt x="1913" y="1985"/>
                  </a:lnTo>
                  <a:lnTo>
                    <a:pt x="1913" y="1952"/>
                  </a:lnTo>
                  <a:lnTo>
                    <a:pt x="1914" y="1885"/>
                  </a:lnTo>
                  <a:lnTo>
                    <a:pt x="1913" y="1816"/>
                  </a:lnTo>
                  <a:lnTo>
                    <a:pt x="1912" y="1745"/>
                  </a:lnTo>
                  <a:lnTo>
                    <a:pt x="1910" y="1675"/>
                  </a:lnTo>
                  <a:lnTo>
                    <a:pt x="1907" y="1606"/>
                  </a:lnTo>
                  <a:lnTo>
                    <a:pt x="1905" y="1573"/>
                  </a:lnTo>
                  <a:lnTo>
                    <a:pt x="1902" y="1541"/>
                  </a:lnTo>
                  <a:lnTo>
                    <a:pt x="1899" y="1512"/>
                  </a:lnTo>
                  <a:lnTo>
                    <a:pt x="1896" y="1482"/>
                  </a:lnTo>
                  <a:lnTo>
                    <a:pt x="1891" y="1454"/>
                  </a:lnTo>
                  <a:lnTo>
                    <a:pt x="1886" y="1428"/>
                  </a:lnTo>
                  <a:lnTo>
                    <a:pt x="1882" y="1404"/>
                  </a:lnTo>
                  <a:lnTo>
                    <a:pt x="1876" y="1383"/>
                  </a:lnTo>
                  <a:lnTo>
                    <a:pt x="1859" y="1336"/>
                  </a:lnTo>
                  <a:lnTo>
                    <a:pt x="1843" y="1291"/>
                  </a:lnTo>
                  <a:lnTo>
                    <a:pt x="1827" y="1248"/>
                  </a:lnTo>
                  <a:lnTo>
                    <a:pt x="1812" y="1207"/>
                  </a:lnTo>
                  <a:lnTo>
                    <a:pt x="1796" y="1167"/>
                  </a:lnTo>
                  <a:lnTo>
                    <a:pt x="1782" y="1130"/>
                  </a:lnTo>
                  <a:lnTo>
                    <a:pt x="1769" y="1094"/>
                  </a:lnTo>
                  <a:lnTo>
                    <a:pt x="1754" y="1060"/>
                  </a:lnTo>
                  <a:lnTo>
                    <a:pt x="1741" y="1026"/>
                  </a:lnTo>
                  <a:lnTo>
                    <a:pt x="1727" y="995"/>
                  </a:lnTo>
                  <a:lnTo>
                    <a:pt x="1714" y="965"/>
                  </a:lnTo>
                  <a:lnTo>
                    <a:pt x="1700" y="935"/>
                  </a:lnTo>
                  <a:lnTo>
                    <a:pt x="1674" y="878"/>
                  </a:lnTo>
                  <a:lnTo>
                    <a:pt x="1647" y="824"/>
                  </a:lnTo>
                  <a:lnTo>
                    <a:pt x="1618" y="773"/>
                  </a:lnTo>
                  <a:lnTo>
                    <a:pt x="1588" y="721"/>
                  </a:lnTo>
                  <a:lnTo>
                    <a:pt x="1556" y="671"/>
                  </a:lnTo>
                  <a:lnTo>
                    <a:pt x="1522" y="621"/>
                  </a:lnTo>
                  <a:lnTo>
                    <a:pt x="1484" y="567"/>
                  </a:lnTo>
                  <a:lnTo>
                    <a:pt x="1442" y="512"/>
                  </a:lnTo>
                  <a:lnTo>
                    <a:pt x="1421" y="484"/>
                  </a:lnTo>
                  <a:lnTo>
                    <a:pt x="1398" y="454"/>
                  </a:lnTo>
                  <a:lnTo>
                    <a:pt x="1373" y="423"/>
                  </a:lnTo>
                  <a:lnTo>
                    <a:pt x="1348" y="391"/>
                  </a:lnTo>
                  <a:lnTo>
                    <a:pt x="1488" y="0"/>
                  </a:lnTo>
                  <a:lnTo>
                    <a:pt x="1847" y="479"/>
                  </a:lnTo>
                  <a:lnTo>
                    <a:pt x="1853" y="489"/>
                  </a:lnTo>
                  <a:lnTo>
                    <a:pt x="1862" y="500"/>
                  </a:lnTo>
                  <a:lnTo>
                    <a:pt x="1870" y="513"/>
                  </a:lnTo>
                  <a:lnTo>
                    <a:pt x="1879" y="528"/>
                  </a:lnTo>
                  <a:lnTo>
                    <a:pt x="1888" y="544"/>
                  </a:lnTo>
                  <a:lnTo>
                    <a:pt x="1900" y="562"/>
                  </a:lnTo>
                  <a:lnTo>
                    <a:pt x="1911" y="580"/>
                  </a:lnTo>
                  <a:lnTo>
                    <a:pt x="1922" y="601"/>
                  </a:lnTo>
                  <a:lnTo>
                    <a:pt x="1936" y="622"/>
                  </a:lnTo>
                  <a:lnTo>
                    <a:pt x="1948" y="644"/>
                  </a:lnTo>
                  <a:lnTo>
                    <a:pt x="1976" y="692"/>
                  </a:lnTo>
                  <a:lnTo>
                    <a:pt x="2004" y="742"/>
                  </a:lnTo>
                  <a:lnTo>
                    <a:pt x="2034" y="796"/>
                  </a:lnTo>
                  <a:lnTo>
                    <a:pt x="2063" y="850"/>
                  </a:lnTo>
                  <a:lnTo>
                    <a:pt x="2091" y="906"/>
                  </a:lnTo>
                  <a:lnTo>
                    <a:pt x="2119" y="963"/>
                  </a:lnTo>
                  <a:lnTo>
                    <a:pt x="2144" y="1019"/>
                  </a:lnTo>
                  <a:lnTo>
                    <a:pt x="2167" y="1075"/>
                  </a:lnTo>
                  <a:lnTo>
                    <a:pt x="2189" y="1128"/>
                  </a:lnTo>
                  <a:lnTo>
                    <a:pt x="2206" y="1180"/>
                  </a:lnTo>
                  <a:lnTo>
                    <a:pt x="2214" y="1205"/>
                  </a:lnTo>
                  <a:lnTo>
                    <a:pt x="2220" y="1228"/>
                  </a:lnTo>
                  <a:lnTo>
                    <a:pt x="2225" y="1249"/>
                  </a:lnTo>
                  <a:lnTo>
                    <a:pt x="2230" y="1272"/>
                  </a:lnTo>
                  <a:lnTo>
                    <a:pt x="2238" y="1318"/>
                  </a:lnTo>
                  <a:lnTo>
                    <a:pt x="2246" y="1368"/>
                  </a:lnTo>
                  <a:lnTo>
                    <a:pt x="2250" y="1422"/>
                  </a:lnTo>
                  <a:lnTo>
                    <a:pt x="2254" y="1477"/>
                  </a:lnTo>
                  <a:lnTo>
                    <a:pt x="2256" y="1534"/>
                  </a:lnTo>
                  <a:lnTo>
                    <a:pt x="2257" y="1593"/>
                  </a:lnTo>
                  <a:lnTo>
                    <a:pt x="2257" y="1653"/>
                  </a:lnTo>
                  <a:lnTo>
                    <a:pt x="2256" y="1772"/>
                  </a:lnTo>
                  <a:lnTo>
                    <a:pt x="2254" y="1832"/>
                  </a:lnTo>
                  <a:lnTo>
                    <a:pt x="2253" y="1890"/>
                  </a:lnTo>
                  <a:lnTo>
                    <a:pt x="2251" y="1946"/>
                  </a:lnTo>
                  <a:lnTo>
                    <a:pt x="2250" y="2001"/>
                  </a:lnTo>
                  <a:lnTo>
                    <a:pt x="2249" y="2052"/>
                  </a:lnTo>
                  <a:lnTo>
                    <a:pt x="2249" y="2101"/>
                  </a:lnTo>
                  <a:lnTo>
                    <a:pt x="2282" y="2149"/>
                  </a:lnTo>
                  <a:lnTo>
                    <a:pt x="2312" y="2201"/>
                  </a:lnTo>
                  <a:lnTo>
                    <a:pt x="2338" y="2254"/>
                  </a:lnTo>
                  <a:lnTo>
                    <a:pt x="2350" y="2282"/>
                  </a:lnTo>
                  <a:lnTo>
                    <a:pt x="2361" y="2312"/>
                  </a:lnTo>
                  <a:lnTo>
                    <a:pt x="2370" y="2341"/>
                  </a:lnTo>
                  <a:lnTo>
                    <a:pt x="2379" y="2372"/>
                  </a:lnTo>
                  <a:lnTo>
                    <a:pt x="2386" y="2403"/>
                  </a:lnTo>
                  <a:lnTo>
                    <a:pt x="2392" y="2434"/>
                  </a:lnTo>
                  <a:lnTo>
                    <a:pt x="2397" y="2466"/>
                  </a:lnTo>
                  <a:lnTo>
                    <a:pt x="2400" y="2500"/>
                  </a:lnTo>
                  <a:lnTo>
                    <a:pt x="2402" y="2534"/>
                  </a:lnTo>
                  <a:lnTo>
                    <a:pt x="2403" y="2568"/>
                  </a:lnTo>
                  <a:lnTo>
                    <a:pt x="2402" y="2606"/>
                  </a:lnTo>
                  <a:lnTo>
                    <a:pt x="2399" y="2644"/>
                  </a:lnTo>
                  <a:lnTo>
                    <a:pt x="2395" y="2680"/>
                  </a:lnTo>
                  <a:lnTo>
                    <a:pt x="2390" y="2716"/>
                  </a:lnTo>
                  <a:lnTo>
                    <a:pt x="2383" y="2751"/>
                  </a:lnTo>
                  <a:lnTo>
                    <a:pt x="2375" y="2785"/>
                  </a:lnTo>
                  <a:lnTo>
                    <a:pt x="2364" y="2819"/>
                  </a:lnTo>
                  <a:lnTo>
                    <a:pt x="2353" y="2852"/>
                  </a:lnTo>
                  <a:lnTo>
                    <a:pt x="2341" y="2884"/>
                  </a:lnTo>
                  <a:lnTo>
                    <a:pt x="2326" y="2914"/>
                  </a:lnTo>
                  <a:lnTo>
                    <a:pt x="2311" y="2944"/>
                  </a:lnTo>
                  <a:lnTo>
                    <a:pt x="2294" y="2973"/>
                  </a:lnTo>
                  <a:lnTo>
                    <a:pt x="2275" y="3001"/>
                  </a:lnTo>
                  <a:lnTo>
                    <a:pt x="2257" y="3028"/>
                  </a:lnTo>
                  <a:lnTo>
                    <a:pt x="2236" y="3054"/>
                  </a:lnTo>
                  <a:lnTo>
                    <a:pt x="2215" y="3078"/>
                  </a:lnTo>
                  <a:lnTo>
                    <a:pt x="2193" y="3102"/>
                  </a:lnTo>
                  <a:lnTo>
                    <a:pt x="2169" y="3124"/>
                  </a:lnTo>
                  <a:lnTo>
                    <a:pt x="2144" y="3145"/>
                  </a:lnTo>
                  <a:lnTo>
                    <a:pt x="2119" y="3165"/>
                  </a:lnTo>
                  <a:lnTo>
                    <a:pt x="2092" y="3183"/>
                  </a:lnTo>
                  <a:lnTo>
                    <a:pt x="2065" y="3200"/>
                  </a:lnTo>
                  <a:lnTo>
                    <a:pt x="2036" y="3215"/>
                  </a:lnTo>
                  <a:lnTo>
                    <a:pt x="2007" y="3230"/>
                  </a:lnTo>
                  <a:lnTo>
                    <a:pt x="1977" y="3242"/>
                  </a:lnTo>
                  <a:lnTo>
                    <a:pt x="1946" y="3252"/>
                  </a:lnTo>
                  <a:lnTo>
                    <a:pt x="1914" y="3262"/>
                  </a:lnTo>
                  <a:lnTo>
                    <a:pt x="1882" y="3270"/>
                  </a:lnTo>
                  <a:lnTo>
                    <a:pt x="1849" y="3276"/>
                  </a:lnTo>
                  <a:lnTo>
                    <a:pt x="1816" y="3280"/>
                  </a:lnTo>
                  <a:lnTo>
                    <a:pt x="1781" y="3282"/>
                  </a:lnTo>
                  <a:lnTo>
                    <a:pt x="1747" y="3283"/>
                  </a:lnTo>
                  <a:lnTo>
                    <a:pt x="563" y="3281"/>
                  </a:lnTo>
                  <a:lnTo>
                    <a:pt x="528" y="3280"/>
                  </a:lnTo>
                  <a:lnTo>
                    <a:pt x="494" y="3278"/>
                  </a:lnTo>
                  <a:lnTo>
                    <a:pt x="461" y="3274"/>
                  </a:lnTo>
                  <a:lnTo>
                    <a:pt x="429" y="3269"/>
                  </a:lnTo>
                  <a:lnTo>
                    <a:pt x="398" y="3263"/>
                  </a:lnTo>
                  <a:lnTo>
                    <a:pt x="367" y="3254"/>
                  </a:lnTo>
                  <a:lnTo>
                    <a:pt x="338" y="3244"/>
                  </a:lnTo>
                  <a:lnTo>
                    <a:pt x="309" y="3234"/>
                  </a:lnTo>
                  <a:lnTo>
                    <a:pt x="282" y="3221"/>
                  </a:lnTo>
                  <a:lnTo>
                    <a:pt x="256" y="3207"/>
                  </a:lnTo>
                  <a:lnTo>
                    <a:pt x="231" y="3192"/>
                  </a:lnTo>
                  <a:lnTo>
                    <a:pt x="208" y="3175"/>
                  </a:lnTo>
                  <a:lnTo>
                    <a:pt x="185" y="3157"/>
                  </a:lnTo>
                  <a:lnTo>
                    <a:pt x="164" y="3137"/>
                  </a:lnTo>
                  <a:lnTo>
                    <a:pt x="145" y="3115"/>
                  </a:lnTo>
                  <a:lnTo>
                    <a:pt x="126" y="3093"/>
                  </a:lnTo>
                  <a:lnTo>
                    <a:pt x="126" y="30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6" name="Freeform 44"/>
            <p:cNvSpPr>
              <a:spLocks noEditPoints="1"/>
            </p:cNvSpPr>
            <p:nvPr/>
          </p:nvSpPr>
          <p:spPr bwMode="auto">
            <a:xfrm>
              <a:off x="-2575176" y="-1203590"/>
              <a:ext cx="3082012" cy="2284628"/>
            </a:xfrm>
            <a:custGeom>
              <a:avLst/>
              <a:gdLst>
                <a:gd name="T0" fmla="*/ 10977 w 15471"/>
                <a:gd name="T1" fmla="*/ 1806 h 11467"/>
                <a:gd name="T2" fmla="*/ 11863 w 15471"/>
                <a:gd name="T3" fmla="*/ 2687 h 11467"/>
                <a:gd name="T4" fmla="*/ 11965 w 15471"/>
                <a:gd name="T5" fmla="*/ 3282 h 11467"/>
                <a:gd name="T6" fmla="*/ 12755 w 15471"/>
                <a:gd name="T7" fmla="*/ 3676 h 11467"/>
                <a:gd name="T8" fmla="*/ 12767 w 15471"/>
                <a:gd name="T9" fmla="*/ 4735 h 11467"/>
                <a:gd name="T10" fmla="*/ 13108 w 15471"/>
                <a:gd name="T11" fmla="*/ 1674 h 11467"/>
                <a:gd name="T12" fmla="*/ 14652 w 15471"/>
                <a:gd name="T13" fmla="*/ 942 h 11467"/>
                <a:gd name="T14" fmla="*/ 15075 w 15471"/>
                <a:gd name="T15" fmla="*/ 4776 h 11467"/>
                <a:gd name="T16" fmla="*/ 12080 w 15471"/>
                <a:gd name="T17" fmla="*/ 6929 h 11467"/>
                <a:gd name="T18" fmla="*/ 10191 w 15471"/>
                <a:gd name="T19" fmla="*/ 5810 h 11467"/>
                <a:gd name="T20" fmla="*/ 11264 w 15471"/>
                <a:gd name="T21" fmla="*/ 7535 h 11467"/>
                <a:gd name="T22" fmla="*/ 10824 w 15471"/>
                <a:gd name="T23" fmla="*/ 8068 h 11467"/>
                <a:gd name="T24" fmla="*/ 8547 w 15471"/>
                <a:gd name="T25" fmla="*/ 6706 h 11467"/>
                <a:gd name="T26" fmla="*/ 9172 w 15471"/>
                <a:gd name="T27" fmla="*/ 8211 h 11467"/>
                <a:gd name="T28" fmla="*/ 6576 w 15471"/>
                <a:gd name="T29" fmla="*/ 11116 h 11467"/>
                <a:gd name="T30" fmla="*/ 6156 w 15471"/>
                <a:gd name="T31" fmla="*/ 9541 h 11467"/>
                <a:gd name="T32" fmla="*/ 6205 w 15471"/>
                <a:gd name="T33" fmla="*/ 9052 h 11467"/>
                <a:gd name="T34" fmla="*/ 4485 w 15471"/>
                <a:gd name="T35" fmla="*/ 9219 h 11467"/>
                <a:gd name="T36" fmla="*/ 3981 w 15471"/>
                <a:gd name="T37" fmla="*/ 10956 h 11467"/>
                <a:gd name="T38" fmla="*/ 2377 w 15471"/>
                <a:gd name="T39" fmla="*/ 9801 h 11467"/>
                <a:gd name="T40" fmla="*/ 1530 w 15471"/>
                <a:gd name="T41" fmla="*/ 7314 h 11467"/>
                <a:gd name="T42" fmla="*/ 1041 w 15471"/>
                <a:gd name="T43" fmla="*/ 5673 h 11467"/>
                <a:gd name="T44" fmla="*/ 412 w 15471"/>
                <a:gd name="T45" fmla="*/ 4456 h 11467"/>
                <a:gd name="T46" fmla="*/ 938 w 15471"/>
                <a:gd name="T47" fmla="*/ 4506 h 11467"/>
                <a:gd name="T48" fmla="*/ 1436 w 15471"/>
                <a:gd name="T49" fmla="*/ 5064 h 11467"/>
                <a:gd name="T50" fmla="*/ 4800 w 15471"/>
                <a:gd name="T51" fmla="*/ 2713 h 11467"/>
                <a:gd name="T52" fmla="*/ 3605 w 15471"/>
                <a:gd name="T53" fmla="*/ 4402 h 11467"/>
                <a:gd name="T54" fmla="*/ 3968 w 15471"/>
                <a:gd name="T55" fmla="*/ 6936 h 11467"/>
                <a:gd name="T56" fmla="*/ 6878 w 15471"/>
                <a:gd name="T57" fmla="*/ 7007 h 11467"/>
                <a:gd name="T58" fmla="*/ 8016 w 15471"/>
                <a:gd name="T59" fmla="*/ 5640 h 11467"/>
                <a:gd name="T60" fmla="*/ 7464 w 15471"/>
                <a:gd name="T61" fmla="*/ 4107 h 11467"/>
                <a:gd name="T62" fmla="*/ 7291 w 15471"/>
                <a:gd name="T63" fmla="*/ 6616 h 11467"/>
                <a:gd name="T64" fmla="*/ 4638 w 15471"/>
                <a:gd name="T65" fmla="*/ 7120 h 11467"/>
                <a:gd name="T66" fmla="*/ 3893 w 15471"/>
                <a:gd name="T67" fmla="*/ 4655 h 11467"/>
                <a:gd name="T68" fmla="*/ 7348 w 15471"/>
                <a:gd name="T69" fmla="*/ 1684 h 11467"/>
                <a:gd name="T70" fmla="*/ 7505 w 15471"/>
                <a:gd name="T71" fmla="*/ 821 h 11467"/>
                <a:gd name="T72" fmla="*/ 14394 w 15471"/>
                <a:gd name="T73" fmla="*/ 1187 h 11467"/>
                <a:gd name="T74" fmla="*/ 13401 w 15471"/>
                <a:gd name="T75" fmla="*/ 1768 h 11467"/>
                <a:gd name="T76" fmla="*/ 9509 w 15471"/>
                <a:gd name="T77" fmla="*/ 2321 h 11467"/>
                <a:gd name="T78" fmla="*/ 9002 w 15471"/>
                <a:gd name="T79" fmla="*/ 2398 h 11467"/>
                <a:gd name="T80" fmla="*/ 9753 w 15471"/>
                <a:gd name="T81" fmla="*/ 3768 h 11467"/>
                <a:gd name="T82" fmla="*/ 9917 w 15471"/>
                <a:gd name="T83" fmla="*/ 4293 h 11467"/>
                <a:gd name="T84" fmla="*/ 10789 w 15471"/>
                <a:gd name="T85" fmla="*/ 3533 h 11467"/>
                <a:gd name="T86" fmla="*/ 10668 w 15471"/>
                <a:gd name="T87" fmla="*/ 3016 h 11467"/>
                <a:gd name="T88" fmla="*/ 9418 w 15471"/>
                <a:gd name="T89" fmla="*/ 3866 h 11467"/>
                <a:gd name="T90" fmla="*/ 6560 w 15471"/>
                <a:gd name="T91" fmla="*/ 1283 h 11467"/>
                <a:gd name="T92" fmla="*/ 4869 w 15471"/>
                <a:gd name="T93" fmla="*/ 2378 h 11467"/>
                <a:gd name="T94" fmla="*/ 1533 w 15471"/>
                <a:gd name="T95" fmla="*/ 4436 h 11467"/>
                <a:gd name="T96" fmla="*/ 865 w 15471"/>
                <a:gd name="T97" fmla="*/ 3460 h 11467"/>
                <a:gd name="T98" fmla="*/ 523 w 15471"/>
                <a:gd name="T99" fmla="*/ 5835 h 11467"/>
                <a:gd name="T100" fmla="*/ 2021 w 15471"/>
                <a:gd name="T101" fmla="*/ 9156 h 11467"/>
                <a:gd name="T102" fmla="*/ 2536 w 15471"/>
                <a:gd name="T103" fmla="*/ 11188 h 11467"/>
                <a:gd name="T104" fmla="*/ 4423 w 15471"/>
                <a:gd name="T105" fmla="*/ 10332 h 11467"/>
                <a:gd name="T106" fmla="*/ 5268 w 15471"/>
                <a:gd name="T107" fmla="*/ 9942 h 11467"/>
                <a:gd name="T108" fmla="*/ 7052 w 15471"/>
                <a:gd name="T109" fmla="*/ 11297 h 11467"/>
                <a:gd name="T110" fmla="*/ 9714 w 15471"/>
                <a:gd name="T111" fmla="*/ 7999 h 11467"/>
                <a:gd name="T112" fmla="*/ 11839 w 15471"/>
                <a:gd name="T113" fmla="*/ 7522 h 11467"/>
                <a:gd name="T114" fmla="*/ 14957 w 15471"/>
                <a:gd name="T115" fmla="*/ 5826 h 11467"/>
                <a:gd name="T116" fmla="*/ 14949 w 15471"/>
                <a:gd name="T117" fmla="*/ 867 h 11467"/>
                <a:gd name="T118" fmla="*/ 13419 w 15471"/>
                <a:gd name="T119" fmla="*/ 1053 h 11467"/>
                <a:gd name="T120" fmla="*/ 12890 w 15471"/>
                <a:gd name="T121" fmla="*/ 3396 h 11467"/>
                <a:gd name="T122" fmla="*/ 12179 w 15471"/>
                <a:gd name="T123" fmla="*/ 1882 h 1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1" h="11467">
                  <a:moveTo>
                    <a:pt x="9231" y="342"/>
                  </a:moveTo>
                  <a:lnTo>
                    <a:pt x="9450" y="342"/>
                  </a:lnTo>
                  <a:lnTo>
                    <a:pt x="9501" y="346"/>
                  </a:lnTo>
                  <a:lnTo>
                    <a:pt x="9553" y="351"/>
                  </a:lnTo>
                  <a:lnTo>
                    <a:pt x="9604" y="357"/>
                  </a:lnTo>
                  <a:lnTo>
                    <a:pt x="9654" y="364"/>
                  </a:lnTo>
                  <a:lnTo>
                    <a:pt x="9703" y="373"/>
                  </a:lnTo>
                  <a:lnTo>
                    <a:pt x="9752" y="383"/>
                  </a:lnTo>
                  <a:lnTo>
                    <a:pt x="9801" y="394"/>
                  </a:lnTo>
                  <a:lnTo>
                    <a:pt x="9848" y="405"/>
                  </a:lnTo>
                  <a:lnTo>
                    <a:pt x="9894" y="419"/>
                  </a:lnTo>
                  <a:lnTo>
                    <a:pt x="9941" y="433"/>
                  </a:lnTo>
                  <a:lnTo>
                    <a:pt x="10031" y="464"/>
                  </a:lnTo>
                  <a:lnTo>
                    <a:pt x="10118" y="499"/>
                  </a:lnTo>
                  <a:lnTo>
                    <a:pt x="10203" y="537"/>
                  </a:lnTo>
                  <a:lnTo>
                    <a:pt x="10285" y="579"/>
                  </a:lnTo>
                  <a:lnTo>
                    <a:pt x="10364" y="623"/>
                  </a:lnTo>
                  <a:lnTo>
                    <a:pt x="10441" y="669"/>
                  </a:lnTo>
                  <a:lnTo>
                    <a:pt x="10514" y="718"/>
                  </a:lnTo>
                  <a:lnTo>
                    <a:pt x="10585" y="768"/>
                  </a:lnTo>
                  <a:lnTo>
                    <a:pt x="10653" y="820"/>
                  </a:lnTo>
                  <a:lnTo>
                    <a:pt x="10719" y="873"/>
                  </a:lnTo>
                  <a:lnTo>
                    <a:pt x="10781" y="927"/>
                  </a:lnTo>
                  <a:lnTo>
                    <a:pt x="10841" y="980"/>
                  </a:lnTo>
                  <a:lnTo>
                    <a:pt x="10899" y="1035"/>
                  </a:lnTo>
                  <a:lnTo>
                    <a:pt x="10954" y="1089"/>
                  </a:lnTo>
                  <a:lnTo>
                    <a:pt x="11005" y="1144"/>
                  </a:lnTo>
                  <a:lnTo>
                    <a:pt x="11054" y="1198"/>
                  </a:lnTo>
                  <a:lnTo>
                    <a:pt x="11100" y="1249"/>
                  </a:lnTo>
                  <a:lnTo>
                    <a:pt x="11144" y="1301"/>
                  </a:lnTo>
                  <a:lnTo>
                    <a:pt x="11185" y="1350"/>
                  </a:lnTo>
                  <a:lnTo>
                    <a:pt x="11223" y="1397"/>
                  </a:lnTo>
                  <a:lnTo>
                    <a:pt x="11258" y="1443"/>
                  </a:lnTo>
                  <a:lnTo>
                    <a:pt x="11291" y="1486"/>
                  </a:lnTo>
                  <a:lnTo>
                    <a:pt x="11321" y="1526"/>
                  </a:lnTo>
                  <a:lnTo>
                    <a:pt x="11348" y="1562"/>
                  </a:lnTo>
                  <a:lnTo>
                    <a:pt x="11373" y="1596"/>
                  </a:lnTo>
                  <a:lnTo>
                    <a:pt x="11393" y="1626"/>
                  </a:lnTo>
                  <a:lnTo>
                    <a:pt x="11404" y="1638"/>
                  </a:lnTo>
                  <a:lnTo>
                    <a:pt x="11413" y="1651"/>
                  </a:lnTo>
                  <a:lnTo>
                    <a:pt x="11381" y="1651"/>
                  </a:lnTo>
                  <a:lnTo>
                    <a:pt x="11351" y="1653"/>
                  </a:lnTo>
                  <a:lnTo>
                    <a:pt x="11319" y="1658"/>
                  </a:lnTo>
                  <a:lnTo>
                    <a:pt x="11286" y="1665"/>
                  </a:lnTo>
                  <a:lnTo>
                    <a:pt x="11253" y="1676"/>
                  </a:lnTo>
                  <a:lnTo>
                    <a:pt x="11219" y="1687"/>
                  </a:lnTo>
                  <a:lnTo>
                    <a:pt x="11185" y="1700"/>
                  </a:lnTo>
                  <a:lnTo>
                    <a:pt x="11152" y="1715"/>
                  </a:lnTo>
                  <a:lnTo>
                    <a:pt x="11121" y="1729"/>
                  </a:lnTo>
                  <a:lnTo>
                    <a:pt x="11091" y="1743"/>
                  </a:lnTo>
                  <a:lnTo>
                    <a:pt x="11064" y="1758"/>
                  </a:lnTo>
                  <a:lnTo>
                    <a:pt x="11039" y="1770"/>
                  </a:lnTo>
                  <a:lnTo>
                    <a:pt x="11018" y="1783"/>
                  </a:lnTo>
                  <a:lnTo>
                    <a:pt x="11008" y="1788"/>
                  </a:lnTo>
                  <a:lnTo>
                    <a:pt x="11001" y="1792"/>
                  </a:lnTo>
                  <a:lnTo>
                    <a:pt x="10994" y="1796"/>
                  </a:lnTo>
                  <a:lnTo>
                    <a:pt x="10988" y="1800"/>
                  </a:lnTo>
                  <a:lnTo>
                    <a:pt x="10983" y="1803"/>
                  </a:lnTo>
                  <a:lnTo>
                    <a:pt x="10979" y="1805"/>
                  </a:lnTo>
                  <a:lnTo>
                    <a:pt x="10977" y="1806"/>
                  </a:lnTo>
                  <a:lnTo>
                    <a:pt x="10976" y="1806"/>
                  </a:lnTo>
                  <a:lnTo>
                    <a:pt x="11257" y="1806"/>
                  </a:lnTo>
                  <a:lnTo>
                    <a:pt x="11303" y="1806"/>
                  </a:lnTo>
                  <a:lnTo>
                    <a:pt x="11345" y="1807"/>
                  </a:lnTo>
                  <a:lnTo>
                    <a:pt x="11385" y="1808"/>
                  </a:lnTo>
                  <a:lnTo>
                    <a:pt x="11424" y="1810"/>
                  </a:lnTo>
                  <a:lnTo>
                    <a:pt x="11462" y="1815"/>
                  </a:lnTo>
                  <a:lnTo>
                    <a:pt x="11498" y="1820"/>
                  </a:lnTo>
                  <a:lnTo>
                    <a:pt x="11534" y="1828"/>
                  </a:lnTo>
                  <a:lnTo>
                    <a:pt x="11569" y="1838"/>
                  </a:lnTo>
                  <a:lnTo>
                    <a:pt x="11603" y="1851"/>
                  </a:lnTo>
                  <a:lnTo>
                    <a:pt x="11637" y="1863"/>
                  </a:lnTo>
                  <a:lnTo>
                    <a:pt x="11671" y="1877"/>
                  </a:lnTo>
                  <a:lnTo>
                    <a:pt x="11704" y="1893"/>
                  </a:lnTo>
                  <a:lnTo>
                    <a:pt x="11737" y="1910"/>
                  </a:lnTo>
                  <a:lnTo>
                    <a:pt x="11771" y="1930"/>
                  </a:lnTo>
                  <a:lnTo>
                    <a:pt x="11804" y="1951"/>
                  </a:lnTo>
                  <a:lnTo>
                    <a:pt x="11837" y="1974"/>
                  </a:lnTo>
                  <a:lnTo>
                    <a:pt x="11871" y="2000"/>
                  </a:lnTo>
                  <a:lnTo>
                    <a:pt x="11905" y="2029"/>
                  </a:lnTo>
                  <a:lnTo>
                    <a:pt x="11941" y="2061"/>
                  </a:lnTo>
                  <a:lnTo>
                    <a:pt x="11977" y="2097"/>
                  </a:lnTo>
                  <a:lnTo>
                    <a:pt x="12013" y="2135"/>
                  </a:lnTo>
                  <a:lnTo>
                    <a:pt x="12051" y="2177"/>
                  </a:lnTo>
                  <a:lnTo>
                    <a:pt x="12070" y="2200"/>
                  </a:lnTo>
                  <a:lnTo>
                    <a:pt x="12089" y="2223"/>
                  </a:lnTo>
                  <a:lnTo>
                    <a:pt x="12110" y="2248"/>
                  </a:lnTo>
                  <a:lnTo>
                    <a:pt x="12129" y="2274"/>
                  </a:lnTo>
                  <a:lnTo>
                    <a:pt x="12157" y="2310"/>
                  </a:lnTo>
                  <a:lnTo>
                    <a:pt x="12182" y="2345"/>
                  </a:lnTo>
                  <a:lnTo>
                    <a:pt x="12204" y="2381"/>
                  </a:lnTo>
                  <a:lnTo>
                    <a:pt x="12221" y="2416"/>
                  </a:lnTo>
                  <a:lnTo>
                    <a:pt x="12237" y="2451"/>
                  </a:lnTo>
                  <a:lnTo>
                    <a:pt x="12247" y="2484"/>
                  </a:lnTo>
                  <a:lnTo>
                    <a:pt x="12254" y="2517"/>
                  </a:lnTo>
                  <a:lnTo>
                    <a:pt x="12258" y="2547"/>
                  </a:lnTo>
                  <a:lnTo>
                    <a:pt x="12258" y="2561"/>
                  </a:lnTo>
                  <a:lnTo>
                    <a:pt x="12257" y="2575"/>
                  </a:lnTo>
                  <a:lnTo>
                    <a:pt x="12255" y="2588"/>
                  </a:lnTo>
                  <a:lnTo>
                    <a:pt x="12253" y="2600"/>
                  </a:lnTo>
                  <a:lnTo>
                    <a:pt x="12249" y="2612"/>
                  </a:lnTo>
                  <a:lnTo>
                    <a:pt x="12244" y="2623"/>
                  </a:lnTo>
                  <a:lnTo>
                    <a:pt x="12238" y="2632"/>
                  </a:lnTo>
                  <a:lnTo>
                    <a:pt x="12231" y="2642"/>
                  </a:lnTo>
                  <a:lnTo>
                    <a:pt x="12222" y="2650"/>
                  </a:lnTo>
                  <a:lnTo>
                    <a:pt x="12212" y="2658"/>
                  </a:lnTo>
                  <a:lnTo>
                    <a:pt x="12202" y="2664"/>
                  </a:lnTo>
                  <a:lnTo>
                    <a:pt x="12189" y="2670"/>
                  </a:lnTo>
                  <a:lnTo>
                    <a:pt x="12177" y="2674"/>
                  </a:lnTo>
                  <a:lnTo>
                    <a:pt x="12162" y="2677"/>
                  </a:lnTo>
                  <a:lnTo>
                    <a:pt x="12147" y="2679"/>
                  </a:lnTo>
                  <a:lnTo>
                    <a:pt x="12129" y="2679"/>
                  </a:lnTo>
                  <a:lnTo>
                    <a:pt x="12035" y="2679"/>
                  </a:lnTo>
                  <a:lnTo>
                    <a:pt x="12008" y="2679"/>
                  </a:lnTo>
                  <a:lnTo>
                    <a:pt x="11980" y="2680"/>
                  </a:lnTo>
                  <a:lnTo>
                    <a:pt x="11954" y="2681"/>
                  </a:lnTo>
                  <a:lnTo>
                    <a:pt x="11930" y="2682"/>
                  </a:lnTo>
                  <a:lnTo>
                    <a:pt x="11906" y="2684"/>
                  </a:lnTo>
                  <a:lnTo>
                    <a:pt x="11885" y="2685"/>
                  </a:lnTo>
                  <a:lnTo>
                    <a:pt x="11863" y="2687"/>
                  </a:lnTo>
                  <a:lnTo>
                    <a:pt x="11843" y="2690"/>
                  </a:lnTo>
                  <a:lnTo>
                    <a:pt x="11806" y="2695"/>
                  </a:lnTo>
                  <a:lnTo>
                    <a:pt x="11772" y="2702"/>
                  </a:lnTo>
                  <a:lnTo>
                    <a:pt x="11741" y="2710"/>
                  </a:lnTo>
                  <a:lnTo>
                    <a:pt x="11712" y="2718"/>
                  </a:lnTo>
                  <a:lnTo>
                    <a:pt x="11686" y="2727"/>
                  </a:lnTo>
                  <a:lnTo>
                    <a:pt x="11660" y="2737"/>
                  </a:lnTo>
                  <a:lnTo>
                    <a:pt x="11611" y="2758"/>
                  </a:lnTo>
                  <a:lnTo>
                    <a:pt x="11586" y="2769"/>
                  </a:lnTo>
                  <a:lnTo>
                    <a:pt x="11561" y="2781"/>
                  </a:lnTo>
                  <a:lnTo>
                    <a:pt x="11535" y="2792"/>
                  </a:lnTo>
                  <a:lnTo>
                    <a:pt x="11506" y="2803"/>
                  </a:lnTo>
                  <a:lnTo>
                    <a:pt x="11519" y="2802"/>
                  </a:lnTo>
                  <a:lnTo>
                    <a:pt x="11535" y="2799"/>
                  </a:lnTo>
                  <a:lnTo>
                    <a:pt x="11552" y="2794"/>
                  </a:lnTo>
                  <a:lnTo>
                    <a:pt x="11572" y="2788"/>
                  </a:lnTo>
                  <a:lnTo>
                    <a:pt x="11594" y="2783"/>
                  </a:lnTo>
                  <a:lnTo>
                    <a:pt x="11615" y="2778"/>
                  </a:lnTo>
                  <a:lnTo>
                    <a:pt x="11639" y="2775"/>
                  </a:lnTo>
                  <a:lnTo>
                    <a:pt x="11662" y="2773"/>
                  </a:lnTo>
                  <a:lnTo>
                    <a:pt x="11709" y="2774"/>
                  </a:lnTo>
                  <a:lnTo>
                    <a:pt x="11733" y="2775"/>
                  </a:lnTo>
                  <a:lnTo>
                    <a:pt x="11757" y="2777"/>
                  </a:lnTo>
                  <a:lnTo>
                    <a:pt x="11781" y="2781"/>
                  </a:lnTo>
                  <a:lnTo>
                    <a:pt x="11803" y="2787"/>
                  </a:lnTo>
                  <a:lnTo>
                    <a:pt x="11826" y="2795"/>
                  </a:lnTo>
                  <a:lnTo>
                    <a:pt x="11849" y="2805"/>
                  </a:lnTo>
                  <a:lnTo>
                    <a:pt x="11870" y="2819"/>
                  </a:lnTo>
                  <a:lnTo>
                    <a:pt x="11890" y="2835"/>
                  </a:lnTo>
                  <a:lnTo>
                    <a:pt x="11910" y="2856"/>
                  </a:lnTo>
                  <a:lnTo>
                    <a:pt x="11920" y="2867"/>
                  </a:lnTo>
                  <a:lnTo>
                    <a:pt x="11928" y="2880"/>
                  </a:lnTo>
                  <a:lnTo>
                    <a:pt x="11937" y="2894"/>
                  </a:lnTo>
                  <a:lnTo>
                    <a:pt x="11946" y="2908"/>
                  </a:lnTo>
                  <a:lnTo>
                    <a:pt x="11954" y="2925"/>
                  </a:lnTo>
                  <a:lnTo>
                    <a:pt x="11961" y="2942"/>
                  </a:lnTo>
                  <a:lnTo>
                    <a:pt x="11968" y="2961"/>
                  </a:lnTo>
                  <a:lnTo>
                    <a:pt x="11976" y="2981"/>
                  </a:lnTo>
                  <a:lnTo>
                    <a:pt x="11982" y="3002"/>
                  </a:lnTo>
                  <a:lnTo>
                    <a:pt x="11988" y="3025"/>
                  </a:lnTo>
                  <a:lnTo>
                    <a:pt x="11989" y="3058"/>
                  </a:lnTo>
                  <a:lnTo>
                    <a:pt x="11988" y="3088"/>
                  </a:lnTo>
                  <a:lnTo>
                    <a:pt x="11987" y="3117"/>
                  </a:lnTo>
                  <a:lnTo>
                    <a:pt x="11986" y="3142"/>
                  </a:lnTo>
                  <a:lnTo>
                    <a:pt x="11983" y="3166"/>
                  </a:lnTo>
                  <a:lnTo>
                    <a:pt x="11980" y="3188"/>
                  </a:lnTo>
                  <a:lnTo>
                    <a:pt x="11976" y="3207"/>
                  </a:lnTo>
                  <a:lnTo>
                    <a:pt x="11970" y="3226"/>
                  </a:lnTo>
                  <a:lnTo>
                    <a:pt x="11963" y="3241"/>
                  </a:lnTo>
                  <a:lnTo>
                    <a:pt x="11956" y="3256"/>
                  </a:lnTo>
                  <a:lnTo>
                    <a:pt x="11947" y="3268"/>
                  </a:lnTo>
                  <a:lnTo>
                    <a:pt x="11936" y="3278"/>
                  </a:lnTo>
                  <a:lnTo>
                    <a:pt x="11925" y="3288"/>
                  </a:lnTo>
                  <a:lnTo>
                    <a:pt x="11912" y="3296"/>
                  </a:lnTo>
                  <a:lnTo>
                    <a:pt x="11897" y="3302"/>
                  </a:lnTo>
                  <a:lnTo>
                    <a:pt x="11881" y="3307"/>
                  </a:lnTo>
                  <a:lnTo>
                    <a:pt x="11905" y="3298"/>
                  </a:lnTo>
                  <a:lnTo>
                    <a:pt x="11928" y="3291"/>
                  </a:lnTo>
                  <a:lnTo>
                    <a:pt x="11952" y="3284"/>
                  </a:lnTo>
                  <a:lnTo>
                    <a:pt x="11965" y="3282"/>
                  </a:lnTo>
                  <a:lnTo>
                    <a:pt x="11979" y="3280"/>
                  </a:lnTo>
                  <a:lnTo>
                    <a:pt x="11994" y="3278"/>
                  </a:lnTo>
                  <a:lnTo>
                    <a:pt x="12011" y="3277"/>
                  </a:lnTo>
                  <a:lnTo>
                    <a:pt x="12029" y="3275"/>
                  </a:lnTo>
                  <a:lnTo>
                    <a:pt x="12050" y="3274"/>
                  </a:lnTo>
                  <a:lnTo>
                    <a:pt x="12074" y="3273"/>
                  </a:lnTo>
                  <a:lnTo>
                    <a:pt x="12100" y="3273"/>
                  </a:lnTo>
                  <a:lnTo>
                    <a:pt x="12128" y="3272"/>
                  </a:lnTo>
                  <a:lnTo>
                    <a:pt x="12160" y="3271"/>
                  </a:lnTo>
                  <a:lnTo>
                    <a:pt x="12184" y="3272"/>
                  </a:lnTo>
                  <a:lnTo>
                    <a:pt x="12208" y="3275"/>
                  </a:lnTo>
                  <a:lnTo>
                    <a:pt x="12232" y="3279"/>
                  </a:lnTo>
                  <a:lnTo>
                    <a:pt x="12255" y="3284"/>
                  </a:lnTo>
                  <a:lnTo>
                    <a:pt x="12279" y="3293"/>
                  </a:lnTo>
                  <a:lnTo>
                    <a:pt x="12302" y="3301"/>
                  </a:lnTo>
                  <a:lnTo>
                    <a:pt x="12325" y="3311"/>
                  </a:lnTo>
                  <a:lnTo>
                    <a:pt x="12346" y="3324"/>
                  </a:lnTo>
                  <a:lnTo>
                    <a:pt x="12367" y="3336"/>
                  </a:lnTo>
                  <a:lnTo>
                    <a:pt x="12386" y="3350"/>
                  </a:lnTo>
                  <a:lnTo>
                    <a:pt x="12404" y="3366"/>
                  </a:lnTo>
                  <a:lnTo>
                    <a:pt x="12422" y="3382"/>
                  </a:lnTo>
                  <a:lnTo>
                    <a:pt x="12437" y="3400"/>
                  </a:lnTo>
                  <a:lnTo>
                    <a:pt x="12450" y="3418"/>
                  </a:lnTo>
                  <a:lnTo>
                    <a:pt x="12463" y="3438"/>
                  </a:lnTo>
                  <a:lnTo>
                    <a:pt x="12472" y="3459"/>
                  </a:lnTo>
                  <a:lnTo>
                    <a:pt x="12481" y="3479"/>
                  </a:lnTo>
                  <a:lnTo>
                    <a:pt x="12490" y="3499"/>
                  </a:lnTo>
                  <a:lnTo>
                    <a:pt x="12498" y="3518"/>
                  </a:lnTo>
                  <a:lnTo>
                    <a:pt x="12505" y="3537"/>
                  </a:lnTo>
                  <a:lnTo>
                    <a:pt x="12511" y="3555"/>
                  </a:lnTo>
                  <a:lnTo>
                    <a:pt x="12516" y="3574"/>
                  </a:lnTo>
                  <a:lnTo>
                    <a:pt x="12518" y="3592"/>
                  </a:lnTo>
                  <a:lnTo>
                    <a:pt x="12518" y="3612"/>
                  </a:lnTo>
                  <a:lnTo>
                    <a:pt x="12514" y="3633"/>
                  </a:lnTo>
                  <a:lnTo>
                    <a:pt x="12508" y="3654"/>
                  </a:lnTo>
                  <a:lnTo>
                    <a:pt x="12499" y="3677"/>
                  </a:lnTo>
                  <a:lnTo>
                    <a:pt x="12493" y="3688"/>
                  </a:lnTo>
                  <a:lnTo>
                    <a:pt x="12486" y="3701"/>
                  </a:lnTo>
                  <a:lnTo>
                    <a:pt x="12477" y="3714"/>
                  </a:lnTo>
                  <a:lnTo>
                    <a:pt x="12468" y="3727"/>
                  </a:lnTo>
                  <a:lnTo>
                    <a:pt x="12458" y="3742"/>
                  </a:lnTo>
                  <a:lnTo>
                    <a:pt x="12445" y="3756"/>
                  </a:lnTo>
                  <a:lnTo>
                    <a:pt x="12433" y="3771"/>
                  </a:lnTo>
                  <a:lnTo>
                    <a:pt x="12418" y="3787"/>
                  </a:lnTo>
                  <a:lnTo>
                    <a:pt x="12403" y="3804"/>
                  </a:lnTo>
                  <a:lnTo>
                    <a:pt x="12386" y="3820"/>
                  </a:lnTo>
                  <a:lnTo>
                    <a:pt x="12404" y="3804"/>
                  </a:lnTo>
                  <a:lnTo>
                    <a:pt x="12423" y="3788"/>
                  </a:lnTo>
                  <a:lnTo>
                    <a:pt x="12441" y="3774"/>
                  </a:lnTo>
                  <a:lnTo>
                    <a:pt x="12461" y="3760"/>
                  </a:lnTo>
                  <a:lnTo>
                    <a:pt x="12481" y="3748"/>
                  </a:lnTo>
                  <a:lnTo>
                    <a:pt x="12501" y="3737"/>
                  </a:lnTo>
                  <a:lnTo>
                    <a:pt x="12523" y="3726"/>
                  </a:lnTo>
                  <a:lnTo>
                    <a:pt x="12543" y="3717"/>
                  </a:lnTo>
                  <a:lnTo>
                    <a:pt x="12587" y="3702"/>
                  </a:lnTo>
                  <a:lnTo>
                    <a:pt x="12631" y="3690"/>
                  </a:lnTo>
                  <a:lnTo>
                    <a:pt x="12677" y="3682"/>
                  </a:lnTo>
                  <a:lnTo>
                    <a:pt x="12722" y="3677"/>
                  </a:lnTo>
                  <a:lnTo>
                    <a:pt x="12739" y="3676"/>
                  </a:lnTo>
                  <a:lnTo>
                    <a:pt x="12755" y="3676"/>
                  </a:lnTo>
                  <a:lnTo>
                    <a:pt x="12773" y="3677"/>
                  </a:lnTo>
                  <a:lnTo>
                    <a:pt x="12789" y="3679"/>
                  </a:lnTo>
                  <a:lnTo>
                    <a:pt x="12806" y="3683"/>
                  </a:lnTo>
                  <a:lnTo>
                    <a:pt x="12821" y="3689"/>
                  </a:lnTo>
                  <a:lnTo>
                    <a:pt x="12835" y="3697"/>
                  </a:lnTo>
                  <a:lnTo>
                    <a:pt x="12846" y="3708"/>
                  </a:lnTo>
                  <a:lnTo>
                    <a:pt x="12861" y="3724"/>
                  </a:lnTo>
                  <a:lnTo>
                    <a:pt x="12875" y="3740"/>
                  </a:lnTo>
                  <a:lnTo>
                    <a:pt x="12887" y="3755"/>
                  </a:lnTo>
                  <a:lnTo>
                    <a:pt x="12899" y="3770"/>
                  </a:lnTo>
                  <a:lnTo>
                    <a:pt x="12908" y="3784"/>
                  </a:lnTo>
                  <a:lnTo>
                    <a:pt x="12916" y="3799"/>
                  </a:lnTo>
                  <a:lnTo>
                    <a:pt x="12922" y="3816"/>
                  </a:lnTo>
                  <a:lnTo>
                    <a:pt x="12927" y="3834"/>
                  </a:lnTo>
                  <a:lnTo>
                    <a:pt x="12931" y="3854"/>
                  </a:lnTo>
                  <a:lnTo>
                    <a:pt x="12932" y="3876"/>
                  </a:lnTo>
                  <a:lnTo>
                    <a:pt x="12931" y="3900"/>
                  </a:lnTo>
                  <a:lnTo>
                    <a:pt x="12928" y="3928"/>
                  </a:lnTo>
                  <a:lnTo>
                    <a:pt x="12924" y="3959"/>
                  </a:lnTo>
                  <a:lnTo>
                    <a:pt x="12921" y="3977"/>
                  </a:lnTo>
                  <a:lnTo>
                    <a:pt x="12917" y="3995"/>
                  </a:lnTo>
                  <a:lnTo>
                    <a:pt x="12913" y="4014"/>
                  </a:lnTo>
                  <a:lnTo>
                    <a:pt x="12909" y="4034"/>
                  </a:lnTo>
                  <a:lnTo>
                    <a:pt x="12904" y="4056"/>
                  </a:lnTo>
                  <a:lnTo>
                    <a:pt x="12899" y="4079"/>
                  </a:lnTo>
                  <a:lnTo>
                    <a:pt x="12892" y="4108"/>
                  </a:lnTo>
                  <a:lnTo>
                    <a:pt x="12885" y="4139"/>
                  </a:lnTo>
                  <a:lnTo>
                    <a:pt x="12870" y="4203"/>
                  </a:lnTo>
                  <a:lnTo>
                    <a:pt x="12853" y="4269"/>
                  </a:lnTo>
                  <a:lnTo>
                    <a:pt x="12835" y="4337"/>
                  </a:lnTo>
                  <a:lnTo>
                    <a:pt x="12815" y="4405"/>
                  </a:lnTo>
                  <a:lnTo>
                    <a:pt x="12795" y="4473"/>
                  </a:lnTo>
                  <a:lnTo>
                    <a:pt x="12775" y="4539"/>
                  </a:lnTo>
                  <a:lnTo>
                    <a:pt x="12755" y="4602"/>
                  </a:lnTo>
                  <a:lnTo>
                    <a:pt x="12746" y="4633"/>
                  </a:lnTo>
                  <a:lnTo>
                    <a:pt x="12736" y="4662"/>
                  </a:lnTo>
                  <a:lnTo>
                    <a:pt x="12727" y="4690"/>
                  </a:lnTo>
                  <a:lnTo>
                    <a:pt x="12719" y="4717"/>
                  </a:lnTo>
                  <a:lnTo>
                    <a:pt x="12710" y="4742"/>
                  </a:lnTo>
                  <a:lnTo>
                    <a:pt x="12702" y="4766"/>
                  </a:lnTo>
                  <a:lnTo>
                    <a:pt x="12695" y="4788"/>
                  </a:lnTo>
                  <a:lnTo>
                    <a:pt x="12688" y="4809"/>
                  </a:lnTo>
                  <a:lnTo>
                    <a:pt x="12682" y="4827"/>
                  </a:lnTo>
                  <a:lnTo>
                    <a:pt x="12676" y="4844"/>
                  </a:lnTo>
                  <a:lnTo>
                    <a:pt x="12671" y="4858"/>
                  </a:lnTo>
                  <a:lnTo>
                    <a:pt x="12667" y="4870"/>
                  </a:lnTo>
                  <a:lnTo>
                    <a:pt x="12664" y="4879"/>
                  </a:lnTo>
                  <a:lnTo>
                    <a:pt x="12661" y="4886"/>
                  </a:lnTo>
                  <a:lnTo>
                    <a:pt x="12660" y="4890"/>
                  </a:lnTo>
                  <a:lnTo>
                    <a:pt x="12659" y="4892"/>
                  </a:lnTo>
                  <a:lnTo>
                    <a:pt x="12661" y="4890"/>
                  </a:lnTo>
                  <a:lnTo>
                    <a:pt x="12664" y="4886"/>
                  </a:lnTo>
                  <a:lnTo>
                    <a:pt x="12670" y="4878"/>
                  </a:lnTo>
                  <a:lnTo>
                    <a:pt x="12679" y="4867"/>
                  </a:lnTo>
                  <a:lnTo>
                    <a:pt x="12689" y="4852"/>
                  </a:lnTo>
                  <a:lnTo>
                    <a:pt x="12701" y="4836"/>
                  </a:lnTo>
                  <a:lnTo>
                    <a:pt x="12716" y="4815"/>
                  </a:lnTo>
                  <a:lnTo>
                    <a:pt x="12731" y="4791"/>
                  </a:lnTo>
                  <a:lnTo>
                    <a:pt x="12749" y="4765"/>
                  </a:lnTo>
                  <a:lnTo>
                    <a:pt x="12767" y="4735"/>
                  </a:lnTo>
                  <a:lnTo>
                    <a:pt x="12786" y="4702"/>
                  </a:lnTo>
                  <a:lnTo>
                    <a:pt x="12807" y="4666"/>
                  </a:lnTo>
                  <a:lnTo>
                    <a:pt x="12828" y="4627"/>
                  </a:lnTo>
                  <a:lnTo>
                    <a:pt x="12850" y="4584"/>
                  </a:lnTo>
                  <a:lnTo>
                    <a:pt x="12873" y="4538"/>
                  </a:lnTo>
                  <a:lnTo>
                    <a:pt x="12895" y="4490"/>
                  </a:lnTo>
                  <a:lnTo>
                    <a:pt x="12918" y="4438"/>
                  </a:lnTo>
                  <a:lnTo>
                    <a:pt x="12941" y="4384"/>
                  </a:lnTo>
                  <a:lnTo>
                    <a:pt x="12964" y="4326"/>
                  </a:lnTo>
                  <a:lnTo>
                    <a:pt x="12986" y="4264"/>
                  </a:lnTo>
                  <a:lnTo>
                    <a:pt x="13008" y="4200"/>
                  </a:lnTo>
                  <a:lnTo>
                    <a:pt x="13030" y="4133"/>
                  </a:lnTo>
                  <a:lnTo>
                    <a:pt x="13050" y="4063"/>
                  </a:lnTo>
                  <a:lnTo>
                    <a:pt x="13070" y="3990"/>
                  </a:lnTo>
                  <a:lnTo>
                    <a:pt x="13088" y="3914"/>
                  </a:lnTo>
                  <a:lnTo>
                    <a:pt x="13106" y="3833"/>
                  </a:lnTo>
                  <a:lnTo>
                    <a:pt x="13123" y="3751"/>
                  </a:lnTo>
                  <a:lnTo>
                    <a:pt x="13137" y="3666"/>
                  </a:lnTo>
                  <a:lnTo>
                    <a:pt x="13150" y="3577"/>
                  </a:lnTo>
                  <a:lnTo>
                    <a:pt x="13161" y="3485"/>
                  </a:lnTo>
                  <a:lnTo>
                    <a:pt x="13170" y="3391"/>
                  </a:lnTo>
                  <a:lnTo>
                    <a:pt x="13177" y="3293"/>
                  </a:lnTo>
                  <a:lnTo>
                    <a:pt x="13179" y="3239"/>
                  </a:lnTo>
                  <a:lnTo>
                    <a:pt x="13181" y="3188"/>
                  </a:lnTo>
                  <a:lnTo>
                    <a:pt x="13183" y="3136"/>
                  </a:lnTo>
                  <a:lnTo>
                    <a:pt x="13184" y="3087"/>
                  </a:lnTo>
                  <a:lnTo>
                    <a:pt x="13186" y="3037"/>
                  </a:lnTo>
                  <a:lnTo>
                    <a:pt x="13186" y="2990"/>
                  </a:lnTo>
                  <a:lnTo>
                    <a:pt x="13186" y="2944"/>
                  </a:lnTo>
                  <a:lnTo>
                    <a:pt x="13186" y="2898"/>
                  </a:lnTo>
                  <a:lnTo>
                    <a:pt x="13184" y="2854"/>
                  </a:lnTo>
                  <a:lnTo>
                    <a:pt x="13182" y="2811"/>
                  </a:lnTo>
                  <a:lnTo>
                    <a:pt x="13181" y="2768"/>
                  </a:lnTo>
                  <a:lnTo>
                    <a:pt x="13179" y="2727"/>
                  </a:lnTo>
                  <a:lnTo>
                    <a:pt x="13177" y="2687"/>
                  </a:lnTo>
                  <a:lnTo>
                    <a:pt x="13174" y="2648"/>
                  </a:lnTo>
                  <a:lnTo>
                    <a:pt x="13169" y="2573"/>
                  </a:lnTo>
                  <a:lnTo>
                    <a:pt x="13162" y="2502"/>
                  </a:lnTo>
                  <a:lnTo>
                    <a:pt x="13155" y="2435"/>
                  </a:lnTo>
                  <a:lnTo>
                    <a:pt x="13147" y="2371"/>
                  </a:lnTo>
                  <a:lnTo>
                    <a:pt x="13139" y="2310"/>
                  </a:lnTo>
                  <a:lnTo>
                    <a:pt x="13130" y="2253"/>
                  </a:lnTo>
                  <a:lnTo>
                    <a:pt x="13121" y="2200"/>
                  </a:lnTo>
                  <a:lnTo>
                    <a:pt x="13112" y="2149"/>
                  </a:lnTo>
                  <a:lnTo>
                    <a:pt x="13104" y="2102"/>
                  </a:lnTo>
                  <a:lnTo>
                    <a:pt x="13096" y="2058"/>
                  </a:lnTo>
                  <a:lnTo>
                    <a:pt x="13088" y="2015"/>
                  </a:lnTo>
                  <a:lnTo>
                    <a:pt x="13081" y="1977"/>
                  </a:lnTo>
                  <a:lnTo>
                    <a:pt x="13075" y="1940"/>
                  </a:lnTo>
                  <a:lnTo>
                    <a:pt x="13070" y="1906"/>
                  </a:lnTo>
                  <a:lnTo>
                    <a:pt x="13067" y="1875"/>
                  </a:lnTo>
                  <a:lnTo>
                    <a:pt x="13064" y="1845"/>
                  </a:lnTo>
                  <a:lnTo>
                    <a:pt x="13063" y="1818"/>
                  </a:lnTo>
                  <a:lnTo>
                    <a:pt x="13063" y="1793"/>
                  </a:lnTo>
                  <a:lnTo>
                    <a:pt x="13065" y="1769"/>
                  </a:lnTo>
                  <a:lnTo>
                    <a:pt x="13069" y="1748"/>
                  </a:lnTo>
                  <a:lnTo>
                    <a:pt x="13075" y="1727"/>
                  </a:lnTo>
                  <a:lnTo>
                    <a:pt x="13084" y="1708"/>
                  </a:lnTo>
                  <a:lnTo>
                    <a:pt x="13095" y="1691"/>
                  </a:lnTo>
                  <a:lnTo>
                    <a:pt x="13108" y="1674"/>
                  </a:lnTo>
                  <a:lnTo>
                    <a:pt x="13125" y="1659"/>
                  </a:lnTo>
                  <a:lnTo>
                    <a:pt x="13140" y="1643"/>
                  </a:lnTo>
                  <a:lnTo>
                    <a:pt x="13157" y="1627"/>
                  </a:lnTo>
                  <a:lnTo>
                    <a:pt x="13174" y="1613"/>
                  </a:lnTo>
                  <a:lnTo>
                    <a:pt x="13193" y="1599"/>
                  </a:lnTo>
                  <a:lnTo>
                    <a:pt x="13212" y="1587"/>
                  </a:lnTo>
                  <a:lnTo>
                    <a:pt x="13233" y="1576"/>
                  </a:lnTo>
                  <a:lnTo>
                    <a:pt x="13277" y="1556"/>
                  </a:lnTo>
                  <a:lnTo>
                    <a:pt x="13326" y="1539"/>
                  </a:lnTo>
                  <a:lnTo>
                    <a:pt x="13376" y="1522"/>
                  </a:lnTo>
                  <a:lnTo>
                    <a:pt x="13429" y="1507"/>
                  </a:lnTo>
                  <a:lnTo>
                    <a:pt x="13484" y="1491"/>
                  </a:lnTo>
                  <a:lnTo>
                    <a:pt x="13541" y="1476"/>
                  </a:lnTo>
                  <a:lnTo>
                    <a:pt x="13597" y="1458"/>
                  </a:lnTo>
                  <a:lnTo>
                    <a:pt x="13655" y="1439"/>
                  </a:lnTo>
                  <a:lnTo>
                    <a:pt x="13714" y="1416"/>
                  </a:lnTo>
                  <a:lnTo>
                    <a:pt x="13742" y="1403"/>
                  </a:lnTo>
                  <a:lnTo>
                    <a:pt x="13771" y="1389"/>
                  </a:lnTo>
                  <a:lnTo>
                    <a:pt x="13800" y="1374"/>
                  </a:lnTo>
                  <a:lnTo>
                    <a:pt x="13828" y="1357"/>
                  </a:lnTo>
                  <a:lnTo>
                    <a:pt x="13855" y="1340"/>
                  </a:lnTo>
                  <a:lnTo>
                    <a:pt x="13883" y="1320"/>
                  </a:lnTo>
                  <a:lnTo>
                    <a:pt x="13910" y="1300"/>
                  </a:lnTo>
                  <a:lnTo>
                    <a:pt x="13937" y="1277"/>
                  </a:lnTo>
                  <a:lnTo>
                    <a:pt x="13957" y="1262"/>
                  </a:lnTo>
                  <a:lnTo>
                    <a:pt x="13976" y="1246"/>
                  </a:lnTo>
                  <a:lnTo>
                    <a:pt x="14012" y="1211"/>
                  </a:lnTo>
                  <a:lnTo>
                    <a:pt x="14045" y="1173"/>
                  </a:lnTo>
                  <a:lnTo>
                    <a:pt x="14076" y="1134"/>
                  </a:lnTo>
                  <a:lnTo>
                    <a:pt x="14105" y="1093"/>
                  </a:lnTo>
                  <a:lnTo>
                    <a:pt x="14133" y="1050"/>
                  </a:lnTo>
                  <a:lnTo>
                    <a:pt x="14160" y="1009"/>
                  </a:lnTo>
                  <a:lnTo>
                    <a:pt x="14187" y="969"/>
                  </a:lnTo>
                  <a:lnTo>
                    <a:pt x="14213" y="931"/>
                  </a:lnTo>
                  <a:lnTo>
                    <a:pt x="14240" y="895"/>
                  </a:lnTo>
                  <a:lnTo>
                    <a:pt x="14253" y="878"/>
                  </a:lnTo>
                  <a:lnTo>
                    <a:pt x="14267" y="863"/>
                  </a:lnTo>
                  <a:lnTo>
                    <a:pt x="14282" y="847"/>
                  </a:lnTo>
                  <a:lnTo>
                    <a:pt x="14296" y="834"/>
                  </a:lnTo>
                  <a:lnTo>
                    <a:pt x="14312" y="822"/>
                  </a:lnTo>
                  <a:lnTo>
                    <a:pt x="14327" y="811"/>
                  </a:lnTo>
                  <a:lnTo>
                    <a:pt x="14344" y="801"/>
                  </a:lnTo>
                  <a:lnTo>
                    <a:pt x="14360" y="793"/>
                  </a:lnTo>
                  <a:lnTo>
                    <a:pt x="14379" y="787"/>
                  </a:lnTo>
                  <a:lnTo>
                    <a:pt x="14396" y="782"/>
                  </a:lnTo>
                  <a:lnTo>
                    <a:pt x="14416" y="779"/>
                  </a:lnTo>
                  <a:lnTo>
                    <a:pt x="14436" y="778"/>
                  </a:lnTo>
                  <a:lnTo>
                    <a:pt x="14451" y="779"/>
                  </a:lnTo>
                  <a:lnTo>
                    <a:pt x="14470" y="785"/>
                  </a:lnTo>
                  <a:lnTo>
                    <a:pt x="14489" y="793"/>
                  </a:lnTo>
                  <a:lnTo>
                    <a:pt x="14510" y="805"/>
                  </a:lnTo>
                  <a:lnTo>
                    <a:pt x="14534" y="821"/>
                  </a:lnTo>
                  <a:lnTo>
                    <a:pt x="14557" y="840"/>
                  </a:lnTo>
                  <a:lnTo>
                    <a:pt x="14571" y="851"/>
                  </a:lnTo>
                  <a:lnTo>
                    <a:pt x="14583" y="864"/>
                  </a:lnTo>
                  <a:lnTo>
                    <a:pt x="14597" y="877"/>
                  </a:lnTo>
                  <a:lnTo>
                    <a:pt x="14610" y="892"/>
                  </a:lnTo>
                  <a:lnTo>
                    <a:pt x="14625" y="907"/>
                  </a:lnTo>
                  <a:lnTo>
                    <a:pt x="14638" y="924"/>
                  </a:lnTo>
                  <a:lnTo>
                    <a:pt x="14652" y="942"/>
                  </a:lnTo>
                  <a:lnTo>
                    <a:pt x="14667" y="961"/>
                  </a:lnTo>
                  <a:lnTo>
                    <a:pt x="14681" y="981"/>
                  </a:lnTo>
                  <a:lnTo>
                    <a:pt x="14696" y="1003"/>
                  </a:lnTo>
                  <a:lnTo>
                    <a:pt x="14711" y="1026"/>
                  </a:lnTo>
                  <a:lnTo>
                    <a:pt x="14727" y="1049"/>
                  </a:lnTo>
                  <a:lnTo>
                    <a:pt x="14741" y="1075"/>
                  </a:lnTo>
                  <a:lnTo>
                    <a:pt x="14757" y="1101"/>
                  </a:lnTo>
                  <a:lnTo>
                    <a:pt x="14772" y="1129"/>
                  </a:lnTo>
                  <a:lnTo>
                    <a:pt x="14788" y="1158"/>
                  </a:lnTo>
                  <a:lnTo>
                    <a:pt x="14803" y="1188"/>
                  </a:lnTo>
                  <a:lnTo>
                    <a:pt x="14818" y="1220"/>
                  </a:lnTo>
                  <a:lnTo>
                    <a:pt x="14833" y="1254"/>
                  </a:lnTo>
                  <a:lnTo>
                    <a:pt x="14849" y="1288"/>
                  </a:lnTo>
                  <a:lnTo>
                    <a:pt x="14864" y="1324"/>
                  </a:lnTo>
                  <a:lnTo>
                    <a:pt x="14880" y="1362"/>
                  </a:lnTo>
                  <a:lnTo>
                    <a:pt x="14894" y="1402"/>
                  </a:lnTo>
                  <a:lnTo>
                    <a:pt x="14909" y="1442"/>
                  </a:lnTo>
                  <a:lnTo>
                    <a:pt x="14925" y="1484"/>
                  </a:lnTo>
                  <a:lnTo>
                    <a:pt x="14939" y="1527"/>
                  </a:lnTo>
                  <a:lnTo>
                    <a:pt x="14954" y="1573"/>
                  </a:lnTo>
                  <a:lnTo>
                    <a:pt x="14968" y="1620"/>
                  </a:lnTo>
                  <a:lnTo>
                    <a:pt x="14983" y="1668"/>
                  </a:lnTo>
                  <a:lnTo>
                    <a:pt x="14997" y="1718"/>
                  </a:lnTo>
                  <a:lnTo>
                    <a:pt x="15011" y="1770"/>
                  </a:lnTo>
                  <a:lnTo>
                    <a:pt x="15024" y="1823"/>
                  </a:lnTo>
                  <a:lnTo>
                    <a:pt x="15037" y="1878"/>
                  </a:lnTo>
                  <a:lnTo>
                    <a:pt x="15051" y="1935"/>
                  </a:lnTo>
                  <a:lnTo>
                    <a:pt x="15063" y="1994"/>
                  </a:lnTo>
                  <a:lnTo>
                    <a:pt x="15076" y="2054"/>
                  </a:lnTo>
                  <a:lnTo>
                    <a:pt x="15088" y="2115"/>
                  </a:lnTo>
                  <a:lnTo>
                    <a:pt x="15099" y="2179"/>
                  </a:lnTo>
                  <a:lnTo>
                    <a:pt x="15111" y="2245"/>
                  </a:lnTo>
                  <a:lnTo>
                    <a:pt x="15121" y="2312"/>
                  </a:lnTo>
                  <a:lnTo>
                    <a:pt x="15132" y="2381"/>
                  </a:lnTo>
                  <a:lnTo>
                    <a:pt x="15142" y="2452"/>
                  </a:lnTo>
                  <a:lnTo>
                    <a:pt x="15152" y="2525"/>
                  </a:lnTo>
                  <a:lnTo>
                    <a:pt x="15161" y="2600"/>
                  </a:lnTo>
                  <a:lnTo>
                    <a:pt x="15170" y="2678"/>
                  </a:lnTo>
                  <a:lnTo>
                    <a:pt x="15178" y="2756"/>
                  </a:lnTo>
                  <a:lnTo>
                    <a:pt x="15185" y="2837"/>
                  </a:lnTo>
                  <a:lnTo>
                    <a:pt x="15192" y="2920"/>
                  </a:lnTo>
                  <a:lnTo>
                    <a:pt x="15199" y="3004"/>
                  </a:lnTo>
                  <a:lnTo>
                    <a:pt x="15205" y="3092"/>
                  </a:lnTo>
                  <a:lnTo>
                    <a:pt x="15210" y="3180"/>
                  </a:lnTo>
                  <a:lnTo>
                    <a:pt x="15215" y="3271"/>
                  </a:lnTo>
                  <a:lnTo>
                    <a:pt x="15218" y="3383"/>
                  </a:lnTo>
                  <a:lnTo>
                    <a:pt x="15219" y="3494"/>
                  </a:lnTo>
                  <a:lnTo>
                    <a:pt x="15219" y="3602"/>
                  </a:lnTo>
                  <a:lnTo>
                    <a:pt x="15217" y="3709"/>
                  </a:lnTo>
                  <a:lnTo>
                    <a:pt x="15212" y="3814"/>
                  </a:lnTo>
                  <a:lnTo>
                    <a:pt x="15206" y="3917"/>
                  </a:lnTo>
                  <a:lnTo>
                    <a:pt x="15199" y="4019"/>
                  </a:lnTo>
                  <a:lnTo>
                    <a:pt x="15188" y="4120"/>
                  </a:lnTo>
                  <a:lnTo>
                    <a:pt x="15177" y="4219"/>
                  </a:lnTo>
                  <a:lnTo>
                    <a:pt x="15164" y="4316"/>
                  </a:lnTo>
                  <a:lnTo>
                    <a:pt x="15149" y="4411"/>
                  </a:lnTo>
                  <a:lnTo>
                    <a:pt x="15133" y="4505"/>
                  </a:lnTo>
                  <a:lnTo>
                    <a:pt x="15115" y="4597"/>
                  </a:lnTo>
                  <a:lnTo>
                    <a:pt x="15095" y="4687"/>
                  </a:lnTo>
                  <a:lnTo>
                    <a:pt x="15075" y="4776"/>
                  </a:lnTo>
                  <a:lnTo>
                    <a:pt x="15052" y="4864"/>
                  </a:lnTo>
                  <a:lnTo>
                    <a:pt x="15028" y="4949"/>
                  </a:lnTo>
                  <a:lnTo>
                    <a:pt x="15003" y="5033"/>
                  </a:lnTo>
                  <a:lnTo>
                    <a:pt x="14977" y="5115"/>
                  </a:lnTo>
                  <a:lnTo>
                    <a:pt x="14949" y="5196"/>
                  </a:lnTo>
                  <a:lnTo>
                    <a:pt x="14919" y="5274"/>
                  </a:lnTo>
                  <a:lnTo>
                    <a:pt x="14889" y="5352"/>
                  </a:lnTo>
                  <a:lnTo>
                    <a:pt x="14857" y="5427"/>
                  </a:lnTo>
                  <a:lnTo>
                    <a:pt x="14824" y="5501"/>
                  </a:lnTo>
                  <a:lnTo>
                    <a:pt x="14790" y="5573"/>
                  </a:lnTo>
                  <a:lnTo>
                    <a:pt x="14755" y="5643"/>
                  </a:lnTo>
                  <a:lnTo>
                    <a:pt x="14718" y="5712"/>
                  </a:lnTo>
                  <a:lnTo>
                    <a:pt x="14680" y="5779"/>
                  </a:lnTo>
                  <a:lnTo>
                    <a:pt x="14642" y="5844"/>
                  </a:lnTo>
                  <a:lnTo>
                    <a:pt x="14603" y="5908"/>
                  </a:lnTo>
                  <a:lnTo>
                    <a:pt x="14563" y="5970"/>
                  </a:lnTo>
                  <a:lnTo>
                    <a:pt x="14521" y="6030"/>
                  </a:lnTo>
                  <a:lnTo>
                    <a:pt x="14479" y="6087"/>
                  </a:lnTo>
                  <a:lnTo>
                    <a:pt x="14437" y="6144"/>
                  </a:lnTo>
                  <a:lnTo>
                    <a:pt x="14393" y="6199"/>
                  </a:lnTo>
                  <a:lnTo>
                    <a:pt x="14349" y="6252"/>
                  </a:lnTo>
                  <a:lnTo>
                    <a:pt x="14304" y="6304"/>
                  </a:lnTo>
                  <a:lnTo>
                    <a:pt x="14257" y="6353"/>
                  </a:lnTo>
                  <a:lnTo>
                    <a:pt x="14211" y="6400"/>
                  </a:lnTo>
                  <a:lnTo>
                    <a:pt x="14164" y="6447"/>
                  </a:lnTo>
                  <a:lnTo>
                    <a:pt x="14116" y="6491"/>
                  </a:lnTo>
                  <a:lnTo>
                    <a:pt x="14068" y="6533"/>
                  </a:lnTo>
                  <a:lnTo>
                    <a:pt x="14019" y="6574"/>
                  </a:lnTo>
                  <a:lnTo>
                    <a:pt x="13970" y="6614"/>
                  </a:lnTo>
                  <a:lnTo>
                    <a:pt x="13921" y="6651"/>
                  </a:lnTo>
                  <a:lnTo>
                    <a:pt x="13870" y="6686"/>
                  </a:lnTo>
                  <a:lnTo>
                    <a:pt x="13819" y="6720"/>
                  </a:lnTo>
                  <a:lnTo>
                    <a:pt x="13769" y="6751"/>
                  </a:lnTo>
                  <a:lnTo>
                    <a:pt x="13718" y="6781"/>
                  </a:lnTo>
                  <a:lnTo>
                    <a:pt x="13667" y="6809"/>
                  </a:lnTo>
                  <a:lnTo>
                    <a:pt x="13615" y="6835"/>
                  </a:lnTo>
                  <a:lnTo>
                    <a:pt x="13563" y="6860"/>
                  </a:lnTo>
                  <a:lnTo>
                    <a:pt x="13511" y="6882"/>
                  </a:lnTo>
                  <a:lnTo>
                    <a:pt x="13459" y="6904"/>
                  </a:lnTo>
                  <a:lnTo>
                    <a:pt x="13407" y="6923"/>
                  </a:lnTo>
                  <a:lnTo>
                    <a:pt x="13355" y="6940"/>
                  </a:lnTo>
                  <a:lnTo>
                    <a:pt x="13302" y="6956"/>
                  </a:lnTo>
                  <a:lnTo>
                    <a:pt x="13251" y="6969"/>
                  </a:lnTo>
                  <a:lnTo>
                    <a:pt x="13198" y="6980"/>
                  </a:lnTo>
                  <a:lnTo>
                    <a:pt x="13146" y="6991"/>
                  </a:lnTo>
                  <a:lnTo>
                    <a:pt x="13095" y="6998"/>
                  </a:lnTo>
                  <a:lnTo>
                    <a:pt x="13043" y="7004"/>
                  </a:lnTo>
                  <a:lnTo>
                    <a:pt x="12991" y="7008"/>
                  </a:lnTo>
                  <a:lnTo>
                    <a:pt x="12940" y="7011"/>
                  </a:lnTo>
                  <a:lnTo>
                    <a:pt x="12846" y="7011"/>
                  </a:lnTo>
                  <a:lnTo>
                    <a:pt x="12763" y="7010"/>
                  </a:lnTo>
                  <a:lnTo>
                    <a:pt x="12683" y="7007"/>
                  </a:lnTo>
                  <a:lnTo>
                    <a:pt x="12602" y="7003"/>
                  </a:lnTo>
                  <a:lnTo>
                    <a:pt x="12524" y="6997"/>
                  </a:lnTo>
                  <a:lnTo>
                    <a:pt x="12446" y="6990"/>
                  </a:lnTo>
                  <a:lnTo>
                    <a:pt x="12370" y="6980"/>
                  </a:lnTo>
                  <a:lnTo>
                    <a:pt x="12296" y="6970"/>
                  </a:lnTo>
                  <a:lnTo>
                    <a:pt x="12222" y="6958"/>
                  </a:lnTo>
                  <a:lnTo>
                    <a:pt x="12150" y="6944"/>
                  </a:lnTo>
                  <a:lnTo>
                    <a:pt x="12080" y="6929"/>
                  </a:lnTo>
                  <a:lnTo>
                    <a:pt x="12011" y="6913"/>
                  </a:lnTo>
                  <a:lnTo>
                    <a:pt x="11943" y="6896"/>
                  </a:lnTo>
                  <a:lnTo>
                    <a:pt x="11875" y="6877"/>
                  </a:lnTo>
                  <a:lnTo>
                    <a:pt x="11810" y="6858"/>
                  </a:lnTo>
                  <a:lnTo>
                    <a:pt x="11745" y="6838"/>
                  </a:lnTo>
                  <a:lnTo>
                    <a:pt x="11683" y="6816"/>
                  </a:lnTo>
                  <a:lnTo>
                    <a:pt x="11622" y="6794"/>
                  </a:lnTo>
                  <a:lnTo>
                    <a:pt x="11562" y="6770"/>
                  </a:lnTo>
                  <a:lnTo>
                    <a:pt x="11503" y="6746"/>
                  </a:lnTo>
                  <a:lnTo>
                    <a:pt x="11445" y="6722"/>
                  </a:lnTo>
                  <a:lnTo>
                    <a:pt x="11388" y="6696"/>
                  </a:lnTo>
                  <a:lnTo>
                    <a:pt x="11334" y="6670"/>
                  </a:lnTo>
                  <a:lnTo>
                    <a:pt x="11280" y="6643"/>
                  </a:lnTo>
                  <a:lnTo>
                    <a:pt x="11227" y="6617"/>
                  </a:lnTo>
                  <a:lnTo>
                    <a:pt x="11177" y="6589"/>
                  </a:lnTo>
                  <a:lnTo>
                    <a:pt x="11127" y="6561"/>
                  </a:lnTo>
                  <a:lnTo>
                    <a:pt x="11079" y="6532"/>
                  </a:lnTo>
                  <a:lnTo>
                    <a:pt x="11031" y="6504"/>
                  </a:lnTo>
                  <a:lnTo>
                    <a:pt x="10986" y="6476"/>
                  </a:lnTo>
                  <a:lnTo>
                    <a:pt x="10941" y="6446"/>
                  </a:lnTo>
                  <a:lnTo>
                    <a:pt x="10898" y="6417"/>
                  </a:lnTo>
                  <a:lnTo>
                    <a:pt x="10856" y="6388"/>
                  </a:lnTo>
                  <a:lnTo>
                    <a:pt x="10815" y="6358"/>
                  </a:lnTo>
                  <a:lnTo>
                    <a:pt x="10776" y="6329"/>
                  </a:lnTo>
                  <a:lnTo>
                    <a:pt x="10738" y="6300"/>
                  </a:lnTo>
                  <a:lnTo>
                    <a:pt x="10701" y="6272"/>
                  </a:lnTo>
                  <a:lnTo>
                    <a:pt x="10666" y="6243"/>
                  </a:lnTo>
                  <a:lnTo>
                    <a:pt x="10632" y="6215"/>
                  </a:lnTo>
                  <a:lnTo>
                    <a:pt x="10599" y="6186"/>
                  </a:lnTo>
                  <a:lnTo>
                    <a:pt x="10568" y="6159"/>
                  </a:lnTo>
                  <a:lnTo>
                    <a:pt x="10537" y="6131"/>
                  </a:lnTo>
                  <a:lnTo>
                    <a:pt x="10508" y="6105"/>
                  </a:lnTo>
                  <a:lnTo>
                    <a:pt x="10480" y="6079"/>
                  </a:lnTo>
                  <a:lnTo>
                    <a:pt x="10454" y="6053"/>
                  </a:lnTo>
                  <a:lnTo>
                    <a:pt x="10429" y="6028"/>
                  </a:lnTo>
                  <a:lnTo>
                    <a:pt x="10405" y="6005"/>
                  </a:lnTo>
                  <a:lnTo>
                    <a:pt x="10383" y="5982"/>
                  </a:lnTo>
                  <a:lnTo>
                    <a:pt x="10361" y="5959"/>
                  </a:lnTo>
                  <a:lnTo>
                    <a:pt x="10341" y="5938"/>
                  </a:lnTo>
                  <a:lnTo>
                    <a:pt x="10323" y="5917"/>
                  </a:lnTo>
                  <a:lnTo>
                    <a:pt x="10305" y="5898"/>
                  </a:lnTo>
                  <a:lnTo>
                    <a:pt x="10290" y="5879"/>
                  </a:lnTo>
                  <a:lnTo>
                    <a:pt x="10274" y="5863"/>
                  </a:lnTo>
                  <a:lnTo>
                    <a:pt x="10261" y="5846"/>
                  </a:lnTo>
                  <a:lnTo>
                    <a:pt x="10250" y="5832"/>
                  </a:lnTo>
                  <a:lnTo>
                    <a:pt x="10238" y="5818"/>
                  </a:lnTo>
                  <a:lnTo>
                    <a:pt x="10229" y="5806"/>
                  </a:lnTo>
                  <a:lnTo>
                    <a:pt x="10221" y="5796"/>
                  </a:lnTo>
                  <a:lnTo>
                    <a:pt x="10213" y="5786"/>
                  </a:lnTo>
                  <a:lnTo>
                    <a:pt x="10207" y="5778"/>
                  </a:lnTo>
                  <a:lnTo>
                    <a:pt x="10203" y="5773"/>
                  </a:lnTo>
                  <a:lnTo>
                    <a:pt x="10200" y="5768"/>
                  </a:lnTo>
                  <a:lnTo>
                    <a:pt x="10198" y="5766"/>
                  </a:lnTo>
                  <a:lnTo>
                    <a:pt x="10197" y="5765"/>
                  </a:lnTo>
                  <a:lnTo>
                    <a:pt x="10197" y="5766"/>
                  </a:lnTo>
                  <a:lnTo>
                    <a:pt x="10197" y="5770"/>
                  </a:lnTo>
                  <a:lnTo>
                    <a:pt x="10196" y="5776"/>
                  </a:lnTo>
                  <a:lnTo>
                    <a:pt x="10194" y="5785"/>
                  </a:lnTo>
                  <a:lnTo>
                    <a:pt x="10193" y="5797"/>
                  </a:lnTo>
                  <a:lnTo>
                    <a:pt x="10191" y="5810"/>
                  </a:lnTo>
                  <a:lnTo>
                    <a:pt x="10189" y="5826"/>
                  </a:lnTo>
                  <a:lnTo>
                    <a:pt x="10187" y="5844"/>
                  </a:lnTo>
                  <a:lnTo>
                    <a:pt x="10185" y="5864"/>
                  </a:lnTo>
                  <a:lnTo>
                    <a:pt x="10182" y="5885"/>
                  </a:lnTo>
                  <a:lnTo>
                    <a:pt x="10179" y="5909"/>
                  </a:lnTo>
                  <a:lnTo>
                    <a:pt x="10177" y="5935"/>
                  </a:lnTo>
                  <a:lnTo>
                    <a:pt x="10175" y="5963"/>
                  </a:lnTo>
                  <a:lnTo>
                    <a:pt x="10172" y="5991"/>
                  </a:lnTo>
                  <a:lnTo>
                    <a:pt x="10170" y="6021"/>
                  </a:lnTo>
                  <a:lnTo>
                    <a:pt x="10168" y="6053"/>
                  </a:lnTo>
                  <a:lnTo>
                    <a:pt x="10165" y="6086"/>
                  </a:lnTo>
                  <a:lnTo>
                    <a:pt x="10163" y="6121"/>
                  </a:lnTo>
                  <a:lnTo>
                    <a:pt x="10162" y="6157"/>
                  </a:lnTo>
                  <a:lnTo>
                    <a:pt x="10160" y="6194"/>
                  </a:lnTo>
                  <a:lnTo>
                    <a:pt x="10159" y="6231"/>
                  </a:lnTo>
                  <a:lnTo>
                    <a:pt x="10158" y="6271"/>
                  </a:lnTo>
                  <a:lnTo>
                    <a:pt x="10157" y="6351"/>
                  </a:lnTo>
                  <a:lnTo>
                    <a:pt x="10157" y="6434"/>
                  </a:lnTo>
                  <a:lnTo>
                    <a:pt x="10159" y="6520"/>
                  </a:lnTo>
                  <a:lnTo>
                    <a:pt x="10163" y="6607"/>
                  </a:lnTo>
                  <a:lnTo>
                    <a:pt x="10170" y="6696"/>
                  </a:lnTo>
                  <a:lnTo>
                    <a:pt x="10179" y="6784"/>
                  </a:lnTo>
                  <a:lnTo>
                    <a:pt x="10192" y="6872"/>
                  </a:lnTo>
                  <a:lnTo>
                    <a:pt x="10207" y="6959"/>
                  </a:lnTo>
                  <a:lnTo>
                    <a:pt x="10226" y="7044"/>
                  </a:lnTo>
                  <a:lnTo>
                    <a:pt x="10249" y="7128"/>
                  </a:lnTo>
                  <a:lnTo>
                    <a:pt x="10262" y="7168"/>
                  </a:lnTo>
                  <a:lnTo>
                    <a:pt x="10275" y="7207"/>
                  </a:lnTo>
                  <a:lnTo>
                    <a:pt x="10291" y="7246"/>
                  </a:lnTo>
                  <a:lnTo>
                    <a:pt x="10306" y="7283"/>
                  </a:lnTo>
                  <a:lnTo>
                    <a:pt x="10324" y="7320"/>
                  </a:lnTo>
                  <a:lnTo>
                    <a:pt x="10342" y="7355"/>
                  </a:lnTo>
                  <a:lnTo>
                    <a:pt x="10361" y="7389"/>
                  </a:lnTo>
                  <a:lnTo>
                    <a:pt x="10383" y="7422"/>
                  </a:lnTo>
                  <a:lnTo>
                    <a:pt x="10404" y="7454"/>
                  </a:lnTo>
                  <a:lnTo>
                    <a:pt x="10427" y="7484"/>
                  </a:lnTo>
                  <a:lnTo>
                    <a:pt x="10452" y="7512"/>
                  </a:lnTo>
                  <a:lnTo>
                    <a:pt x="10478" y="7539"/>
                  </a:lnTo>
                  <a:lnTo>
                    <a:pt x="10506" y="7564"/>
                  </a:lnTo>
                  <a:lnTo>
                    <a:pt x="10535" y="7587"/>
                  </a:lnTo>
                  <a:lnTo>
                    <a:pt x="10564" y="7609"/>
                  </a:lnTo>
                  <a:lnTo>
                    <a:pt x="10596" y="7627"/>
                  </a:lnTo>
                  <a:lnTo>
                    <a:pt x="10629" y="7645"/>
                  </a:lnTo>
                  <a:lnTo>
                    <a:pt x="10665" y="7660"/>
                  </a:lnTo>
                  <a:lnTo>
                    <a:pt x="10702" y="7672"/>
                  </a:lnTo>
                  <a:lnTo>
                    <a:pt x="10740" y="7683"/>
                  </a:lnTo>
                  <a:lnTo>
                    <a:pt x="10779" y="7691"/>
                  </a:lnTo>
                  <a:lnTo>
                    <a:pt x="10820" y="7697"/>
                  </a:lnTo>
                  <a:lnTo>
                    <a:pt x="10882" y="7697"/>
                  </a:lnTo>
                  <a:lnTo>
                    <a:pt x="10923" y="7695"/>
                  </a:lnTo>
                  <a:lnTo>
                    <a:pt x="10962" y="7690"/>
                  </a:lnTo>
                  <a:lnTo>
                    <a:pt x="11000" y="7683"/>
                  </a:lnTo>
                  <a:lnTo>
                    <a:pt x="11037" y="7671"/>
                  </a:lnTo>
                  <a:lnTo>
                    <a:pt x="11073" y="7658"/>
                  </a:lnTo>
                  <a:lnTo>
                    <a:pt x="11108" y="7643"/>
                  </a:lnTo>
                  <a:lnTo>
                    <a:pt x="11142" y="7624"/>
                  </a:lnTo>
                  <a:lnTo>
                    <a:pt x="11175" y="7604"/>
                  </a:lnTo>
                  <a:lnTo>
                    <a:pt x="11206" y="7583"/>
                  </a:lnTo>
                  <a:lnTo>
                    <a:pt x="11235" y="7559"/>
                  </a:lnTo>
                  <a:lnTo>
                    <a:pt x="11264" y="7535"/>
                  </a:lnTo>
                  <a:lnTo>
                    <a:pt x="11291" y="7510"/>
                  </a:lnTo>
                  <a:lnTo>
                    <a:pt x="11318" y="7483"/>
                  </a:lnTo>
                  <a:lnTo>
                    <a:pt x="11343" y="7456"/>
                  </a:lnTo>
                  <a:lnTo>
                    <a:pt x="11367" y="7428"/>
                  </a:lnTo>
                  <a:lnTo>
                    <a:pt x="11389" y="7401"/>
                  </a:lnTo>
                  <a:lnTo>
                    <a:pt x="11411" y="7373"/>
                  </a:lnTo>
                  <a:lnTo>
                    <a:pt x="11431" y="7346"/>
                  </a:lnTo>
                  <a:lnTo>
                    <a:pt x="11449" y="7318"/>
                  </a:lnTo>
                  <a:lnTo>
                    <a:pt x="11467" y="7292"/>
                  </a:lnTo>
                  <a:lnTo>
                    <a:pt x="11483" y="7267"/>
                  </a:lnTo>
                  <a:lnTo>
                    <a:pt x="11498" y="7242"/>
                  </a:lnTo>
                  <a:lnTo>
                    <a:pt x="11511" y="7219"/>
                  </a:lnTo>
                  <a:lnTo>
                    <a:pt x="11522" y="7198"/>
                  </a:lnTo>
                  <a:lnTo>
                    <a:pt x="11534" y="7177"/>
                  </a:lnTo>
                  <a:lnTo>
                    <a:pt x="11543" y="7159"/>
                  </a:lnTo>
                  <a:lnTo>
                    <a:pt x="11550" y="7144"/>
                  </a:lnTo>
                  <a:lnTo>
                    <a:pt x="11558" y="7130"/>
                  </a:lnTo>
                  <a:lnTo>
                    <a:pt x="11562" y="7119"/>
                  </a:lnTo>
                  <a:lnTo>
                    <a:pt x="11566" y="7111"/>
                  </a:lnTo>
                  <a:lnTo>
                    <a:pt x="11568" y="7106"/>
                  </a:lnTo>
                  <a:lnTo>
                    <a:pt x="11569" y="7105"/>
                  </a:lnTo>
                  <a:lnTo>
                    <a:pt x="11724" y="7136"/>
                  </a:lnTo>
                  <a:lnTo>
                    <a:pt x="11724" y="7136"/>
                  </a:lnTo>
                  <a:lnTo>
                    <a:pt x="11724" y="7138"/>
                  </a:lnTo>
                  <a:lnTo>
                    <a:pt x="11723" y="7142"/>
                  </a:lnTo>
                  <a:lnTo>
                    <a:pt x="11721" y="7146"/>
                  </a:lnTo>
                  <a:lnTo>
                    <a:pt x="11720" y="7152"/>
                  </a:lnTo>
                  <a:lnTo>
                    <a:pt x="11718" y="7158"/>
                  </a:lnTo>
                  <a:lnTo>
                    <a:pt x="11714" y="7167"/>
                  </a:lnTo>
                  <a:lnTo>
                    <a:pt x="11712" y="7176"/>
                  </a:lnTo>
                  <a:lnTo>
                    <a:pt x="11705" y="7197"/>
                  </a:lnTo>
                  <a:lnTo>
                    <a:pt x="11696" y="7222"/>
                  </a:lnTo>
                  <a:lnTo>
                    <a:pt x="11686" y="7250"/>
                  </a:lnTo>
                  <a:lnTo>
                    <a:pt x="11674" y="7282"/>
                  </a:lnTo>
                  <a:lnTo>
                    <a:pt x="11660" y="7316"/>
                  </a:lnTo>
                  <a:lnTo>
                    <a:pt x="11644" y="7352"/>
                  </a:lnTo>
                  <a:lnTo>
                    <a:pt x="11627" y="7391"/>
                  </a:lnTo>
                  <a:lnTo>
                    <a:pt x="11607" y="7431"/>
                  </a:lnTo>
                  <a:lnTo>
                    <a:pt x="11586" y="7474"/>
                  </a:lnTo>
                  <a:lnTo>
                    <a:pt x="11563" y="7516"/>
                  </a:lnTo>
                  <a:lnTo>
                    <a:pt x="11538" y="7559"/>
                  </a:lnTo>
                  <a:lnTo>
                    <a:pt x="11510" y="7603"/>
                  </a:lnTo>
                  <a:lnTo>
                    <a:pt x="11480" y="7647"/>
                  </a:lnTo>
                  <a:lnTo>
                    <a:pt x="11449" y="7690"/>
                  </a:lnTo>
                  <a:lnTo>
                    <a:pt x="11415" y="7733"/>
                  </a:lnTo>
                  <a:lnTo>
                    <a:pt x="11379" y="7774"/>
                  </a:lnTo>
                  <a:lnTo>
                    <a:pt x="11341" y="7816"/>
                  </a:lnTo>
                  <a:lnTo>
                    <a:pt x="11299" y="7854"/>
                  </a:lnTo>
                  <a:lnTo>
                    <a:pt x="11257" y="7891"/>
                  </a:lnTo>
                  <a:lnTo>
                    <a:pt x="11212" y="7925"/>
                  </a:lnTo>
                  <a:lnTo>
                    <a:pt x="11164" y="7956"/>
                  </a:lnTo>
                  <a:lnTo>
                    <a:pt x="11114" y="7985"/>
                  </a:lnTo>
                  <a:lnTo>
                    <a:pt x="11061" y="8009"/>
                  </a:lnTo>
                  <a:lnTo>
                    <a:pt x="11005" y="8031"/>
                  </a:lnTo>
                  <a:lnTo>
                    <a:pt x="10977" y="8040"/>
                  </a:lnTo>
                  <a:lnTo>
                    <a:pt x="10947" y="8047"/>
                  </a:lnTo>
                  <a:lnTo>
                    <a:pt x="10917" y="8055"/>
                  </a:lnTo>
                  <a:lnTo>
                    <a:pt x="10888" y="8061"/>
                  </a:lnTo>
                  <a:lnTo>
                    <a:pt x="10856" y="8065"/>
                  </a:lnTo>
                  <a:lnTo>
                    <a:pt x="10824" y="8068"/>
                  </a:lnTo>
                  <a:lnTo>
                    <a:pt x="10792" y="8070"/>
                  </a:lnTo>
                  <a:lnTo>
                    <a:pt x="10759" y="8071"/>
                  </a:lnTo>
                  <a:lnTo>
                    <a:pt x="10711" y="8069"/>
                  </a:lnTo>
                  <a:lnTo>
                    <a:pt x="10665" y="8065"/>
                  </a:lnTo>
                  <a:lnTo>
                    <a:pt x="10618" y="8058"/>
                  </a:lnTo>
                  <a:lnTo>
                    <a:pt x="10572" y="8047"/>
                  </a:lnTo>
                  <a:lnTo>
                    <a:pt x="10524" y="8034"/>
                  </a:lnTo>
                  <a:lnTo>
                    <a:pt x="10478" y="8019"/>
                  </a:lnTo>
                  <a:lnTo>
                    <a:pt x="10431" y="7999"/>
                  </a:lnTo>
                  <a:lnTo>
                    <a:pt x="10384" y="7977"/>
                  </a:lnTo>
                  <a:lnTo>
                    <a:pt x="10331" y="7952"/>
                  </a:lnTo>
                  <a:lnTo>
                    <a:pt x="10276" y="7924"/>
                  </a:lnTo>
                  <a:lnTo>
                    <a:pt x="10222" y="7892"/>
                  </a:lnTo>
                  <a:lnTo>
                    <a:pt x="10166" y="7857"/>
                  </a:lnTo>
                  <a:lnTo>
                    <a:pt x="10109" y="7821"/>
                  </a:lnTo>
                  <a:lnTo>
                    <a:pt x="10053" y="7781"/>
                  </a:lnTo>
                  <a:lnTo>
                    <a:pt x="9999" y="7739"/>
                  </a:lnTo>
                  <a:lnTo>
                    <a:pt x="9944" y="7696"/>
                  </a:lnTo>
                  <a:lnTo>
                    <a:pt x="9890" y="7652"/>
                  </a:lnTo>
                  <a:lnTo>
                    <a:pt x="9839" y="7607"/>
                  </a:lnTo>
                  <a:lnTo>
                    <a:pt x="9788" y="7560"/>
                  </a:lnTo>
                  <a:lnTo>
                    <a:pt x="9740" y="7513"/>
                  </a:lnTo>
                  <a:lnTo>
                    <a:pt x="9694" y="7465"/>
                  </a:lnTo>
                  <a:lnTo>
                    <a:pt x="9651" y="7417"/>
                  </a:lnTo>
                  <a:lnTo>
                    <a:pt x="9611" y="7370"/>
                  </a:lnTo>
                  <a:lnTo>
                    <a:pt x="9573" y="7323"/>
                  </a:lnTo>
                  <a:lnTo>
                    <a:pt x="9524" y="7310"/>
                  </a:lnTo>
                  <a:lnTo>
                    <a:pt x="9475" y="7295"/>
                  </a:lnTo>
                  <a:lnTo>
                    <a:pt x="9426" y="7279"/>
                  </a:lnTo>
                  <a:lnTo>
                    <a:pt x="9377" y="7260"/>
                  </a:lnTo>
                  <a:lnTo>
                    <a:pt x="9330" y="7241"/>
                  </a:lnTo>
                  <a:lnTo>
                    <a:pt x="9282" y="7219"/>
                  </a:lnTo>
                  <a:lnTo>
                    <a:pt x="9236" y="7197"/>
                  </a:lnTo>
                  <a:lnTo>
                    <a:pt x="9189" y="7173"/>
                  </a:lnTo>
                  <a:lnTo>
                    <a:pt x="9145" y="7148"/>
                  </a:lnTo>
                  <a:lnTo>
                    <a:pt x="9101" y="7123"/>
                  </a:lnTo>
                  <a:lnTo>
                    <a:pt x="9057" y="7098"/>
                  </a:lnTo>
                  <a:lnTo>
                    <a:pt x="9016" y="7071"/>
                  </a:lnTo>
                  <a:lnTo>
                    <a:pt x="8975" y="7044"/>
                  </a:lnTo>
                  <a:lnTo>
                    <a:pt x="8935" y="7017"/>
                  </a:lnTo>
                  <a:lnTo>
                    <a:pt x="8897" y="6991"/>
                  </a:lnTo>
                  <a:lnTo>
                    <a:pt x="8861" y="6965"/>
                  </a:lnTo>
                  <a:lnTo>
                    <a:pt x="8826" y="6938"/>
                  </a:lnTo>
                  <a:lnTo>
                    <a:pt x="8793" y="6912"/>
                  </a:lnTo>
                  <a:lnTo>
                    <a:pt x="8761" y="6888"/>
                  </a:lnTo>
                  <a:lnTo>
                    <a:pt x="8731" y="6864"/>
                  </a:lnTo>
                  <a:lnTo>
                    <a:pt x="8703" y="6841"/>
                  </a:lnTo>
                  <a:lnTo>
                    <a:pt x="8677" y="6819"/>
                  </a:lnTo>
                  <a:lnTo>
                    <a:pt x="8654" y="6798"/>
                  </a:lnTo>
                  <a:lnTo>
                    <a:pt x="8632" y="6779"/>
                  </a:lnTo>
                  <a:lnTo>
                    <a:pt x="8612" y="6762"/>
                  </a:lnTo>
                  <a:lnTo>
                    <a:pt x="8595" y="6746"/>
                  </a:lnTo>
                  <a:lnTo>
                    <a:pt x="8580" y="6733"/>
                  </a:lnTo>
                  <a:lnTo>
                    <a:pt x="8568" y="6721"/>
                  </a:lnTo>
                  <a:lnTo>
                    <a:pt x="8559" y="6711"/>
                  </a:lnTo>
                  <a:lnTo>
                    <a:pt x="8551" y="6705"/>
                  </a:lnTo>
                  <a:lnTo>
                    <a:pt x="8547" y="6701"/>
                  </a:lnTo>
                  <a:lnTo>
                    <a:pt x="8545" y="6699"/>
                  </a:lnTo>
                  <a:lnTo>
                    <a:pt x="8546" y="6701"/>
                  </a:lnTo>
                  <a:lnTo>
                    <a:pt x="8547" y="6706"/>
                  </a:lnTo>
                  <a:lnTo>
                    <a:pt x="8549" y="6716"/>
                  </a:lnTo>
                  <a:lnTo>
                    <a:pt x="8553" y="6728"/>
                  </a:lnTo>
                  <a:lnTo>
                    <a:pt x="8559" y="6743"/>
                  </a:lnTo>
                  <a:lnTo>
                    <a:pt x="8565" y="6762"/>
                  </a:lnTo>
                  <a:lnTo>
                    <a:pt x="8574" y="6784"/>
                  </a:lnTo>
                  <a:lnTo>
                    <a:pt x="8584" y="6808"/>
                  </a:lnTo>
                  <a:lnTo>
                    <a:pt x="8597" y="6836"/>
                  </a:lnTo>
                  <a:lnTo>
                    <a:pt x="8612" y="6867"/>
                  </a:lnTo>
                  <a:lnTo>
                    <a:pt x="8630" y="6900"/>
                  </a:lnTo>
                  <a:lnTo>
                    <a:pt x="8651" y="6936"/>
                  </a:lnTo>
                  <a:lnTo>
                    <a:pt x="8674" y="6975"/>
                  </a:lnTo>
                  <a:lnTo>
                    <a:pt x="8701" y="7015"/>
                  </a:lnTo>
                  <a:lnTo>
                    <a:pt x="8730" y="7059"/>
                  </a:lnTo>
                  <a:lnTo>
                    <a:pt x="8764" y="7105"/>
                  </a:lnTo>
                  <a:lnTo>
                    <a:pt x="8812" y="7163"/>
                  </a:lnTo>
                  <a:lnTo>
                    <a:pt x="8862" y="7218"/>
                  </a:lnTo>
                  <a:lnTo>
                    <a:pt x="8914" y="7272"/>
                  </a:lnTo>
                  <a:lnTo>
                    <a:pt x="8966" y="7323"/>
                  </a:lnTo>
                  <a:lnTo>
                    <a:pt x="9019" y="7373"/>
                  </a:lnTo>
                  <a:lnTo>
                    <a:pt x="9071" y="7419"/>
                  </a:lnTo>
                  <a:lnTo>
                    <a:pt x="9121" y="7462"/>
                  </a:lnTo>
                  <a:lnTo>
                    <a:pt x="9169" y="7501"/>
                  </a:lnTo>
                  <a:lnTo>
                    <a:pt x="9214" y="7539"/>
                  </a:lnTo>
                  <a:lnTo>
                    <a:pt x="9235" y="7555"/>
                  </a:lnTo>
                  <a:lnTo>
                    <a:pt x="9255" y="7570"/>
                  </a:lnTo>
                  <a:lnTo>
                    <a:pt x="9275" y="7585"/>
                  </a:lnTo>
                  <a:lnTo>
                    <a:pt x="9293" y="7598"/>
                  </a:lnTo>
                  <a:lnTo>
                    <a:pt x="9309" y="7611"/>
                  </a:lnTo>
                  <a:lnTo>
                    <a:pt x="9325" y="7622"/>
                  </a:lnTo>
                  <a:lnTo>
                    <a:pt x="9338" y="7631"/>
                  </a:lnTo>
                  <a:lnTo>
                    <a:pt x="9350" y="7641"/>
                  </a:lnTo>
                  <a:lnTo>
                    <a:pt x="9362" y="7648"/>
                  </a:lnTo>
                  <a:lnTo>
                    <a:pt x="9370" y="7654"/>
                  </a:lnTo>
                  <a:lnTo>
                    <a:pt x="9377" y="7659"/>
                  </a:lnTo>
                  <a:lnTo>
                    <a:pt x="9382" y="7662"/>
                  </a:lnTo>
                  <a:lnTo>
                    <a:pt x="9386" y="7665"/>
                  </a:lnTo>
                  <a:lnTo>
                    <a:pt x="9387" y="7665"/>
                  </a:lnTo>
                  <a:lnTo>
                    <a:pt x="9387" y="7666"/>
                  </a:lnTo>
                  <a:lnTo>
                    <a:pt x="9386" y="7670"/>
                  </a:lnTo>
                  <a:lnTo>
                    <a:pt x="9382" y="7677"/>
                  </a:lnTo>
                  <a:lnTo>
                    <a:pt x="9379" y="7684"/>
                  </a:lnTo>
                  <a:lnTo>
                    <a:pt x="9376" y="7694"/>
                  </a:lnTo>
                  <a:lnTo>
                    <a:pt x="9371" y="7706"/>
                  </a:lnTo>
                  <a:lnTo>
                    <a:pt x="9366" y="7721"/>
                  </a:lnTo>
                  <a:lnTo>
                    <a:pt x="9360" y="7737"/>
                  </a:lnTo>
                  <a:lnTo>
                    <a:pt x="9352" y="7756"/>
                  </a:lnTo>
                  <a:lnTo>
                    <a:pt x="9344" y="7775"/>
                  </a:lnTo>
                  <a:lnTo>
                    <a:pt x="9336" y="7797"/>
                  </a:lnTo>
                  <a:lnTo>
                    <a:pt x="9327" y="7821"/>
                  </a:lnTo>
                  <a:lnTo>
                    <a:pt x="9317" y="7845"/>
                  </a:lnTo>
                  <a:lnTo>
                    <a:pt x="9307" y="7872"/>
                  </a:lnTo>
                  <a:lnTo>
                    <a:pt x="9296" y="7901"/>
                  </a:lnTo>
                  <a:lnTo>
                    <a:pt x="9284" y="7930"/>
                  </a:lnTo>
                  <a:lnTo>
                    <a:pt x="9272" y="7962"/>
                  </a:lnTo>
                  <a:lnTo>
                    <a:pt x="9260" y="7994"/>
                  </a:lnTo>
                  <a:lnTo>
                    <a:pt x="9246" y="8027"/>
                  </a:lnTo>
                  <a:lnTo>
                    <a:pt x="9232" y="8062"/>
                  </a:lnTo>
                  <a:lnTo>
                    <a:pt x="9217" y="8098"/>
                  </a:lnTo>
                  <a:lnTo>
                    <a:pt x="9203" y="8135"/>
                  </a:lnTo>
                  <a:lnTo>
                    <a:pt x="9172" y="8211"/>
                  </a:lnTo>
                  <a:lnTo>
                    <a:pt x="9139" y="8291"/>
                  </a:lnTo>
                  <a:lnTo>
                    <a:pt x="9105" y="8374"/>
                  </a:lnTo>
                  <a:lnTo>
                    <a:pt x="9070" y="8459"/>
                  </a:lnTo>
                  <a:lnTo>
                    <a:pt x="9032" y="8546"/>
                  </a:lnTo>
                  <a:lnTo>
                    <a:pt x="8994" y="8635"/>
                  </a:lnTo>
                  <a:lnTo>
                    <a:pt x="8956" y="8723"/>
                  </a:lnTo>
                  <a:lnTo>
                    <a:pt x="8878" y="8901"/>
                  </a:lnTo>
                  <a:lnTo>
                    <a:pt x="8837" y="8989"/>
                  </a:lnTo>
                  <a:lnTo>
                    <a:pt x="8797" y="9075"/>
                  </a:lnTo>
                  <a:lnTo>
                    <a:pt x="8757" y="9161"/>
                  </a:lnTo>
                  <a:lnTo>
                    <a:pt x="8717" y="9243"/>
                  </a:lnTo>
                  <a:lnTo>
                    <a:pt x="8676" y="9323"/>
                  </a:lnTo>
                  <a:lnTo>
                    <a:pt x="8637" y="9399"/>
                  </a:lnTo>
                  <a:lnTo>
                    <a:pt x="8617" y="9435"/>
                  </a:lnTo>
                  <a:lnTo>
                    <a:pt x="8599" y="9471"/>
                  </a:lnTo>
                  <a:lnTo>
                    <a:pt x="8579" y="9505"/>
                  </a:lnTo>
                  <a:lnTo>
                    <a:pt x="8561" y="9539"/>
                  </a:lnTo>
                  <a:lnTo>
                    <a:pt x="8542" y="9571"/>
                  </a:lnTo>
                  <a:lnTo>
                    <a:pt x="8524" y="9601"/>
                  </a:lnTo>
                  <a:lnTo>
                    <a:pt x="8506" y="9631"/>
                  </a:lnTo>
                  <a:lnTo>
                    <a:pt x="8488" y="9658"/>
                  </a:lnTo>
                  <a:lnTo>
                    <a:pt x="8471" y="9684"/>
                  </a:lnTo>
                  <a:lnTo>
                    <a:pt x="8453" y="9709"/>
                  </a:lnTo>
                  <a:lnTo>
                    <a:pt x="8437" y="9733"/>
                  </a:lnTo>
                  <a:lnTo>
                    <a:pt x="8420" y="9753"/>
                  </a:lnTo>
                  <a:lnTo>
                    <a:pt x="8388" y="9794"/>
                  </a:lnTo>
                  <a:lnTo>
                    <a:pt x="8354" y="9835"/>
                  </a:lnTo>
                  <a:lnTo>
                    <a:pt x="8284" y="9913"/>
                  </a:lnTo>
                  <a:lnTo>
                    <a:pt x="8210" y="9990"/>
                  </a:lnTo>
                  <a:lnTo>
                    <a:pt x="8132" y="10065"/>
                  </a:lnTo>
                  <a:lnTo>
                    <a:pt x="8052" y="10138"/>
                  </a:lnTo>
                  <a:lnTo>
                    <a:pt x="7969" y="10212"/>
                  </a:lnTo>
                  <a:lnTo>
                    <a:pt x="7885" y="10283"/>
                  </a:lnTo>
                  <a:lnTo>
                    <a:pt x="7798" y="10354"/>
                  </a:lnTo>
                  <a:lnTo>
                    <a:pt x="7709" y="10423"/>
                  </a:lnTo>
                  <a:lnTo>
                    <a:pt x="7620" y="10493"/>
                  </a:lnTo>
                  <a:lnTo>
                    <a:pt x="7440" y="10630"/>
                  </a:lnTo>
                  <a:lnTo>
                    <a:pt x="7258" y="10768"/>
                  </a:lnTo>
                  <a:lnTo>
                    <a:pt x="7169" y="10837"/>
                  </a:lnTo>
                  <a:lnTo>
                    <a:pt x="7080" y="10907"/>
                  </a:lnTo>
                  <a:lnTo>
                    <a:pt x="7046" y="10935"/>
                  </a:lnTo>
                  <a:lnTo>
                    <a:pt x="7013" y="10960"/>
                  </a:lnTo>
                  <a:lnTo>
                    <a:pt x="6981" y="10984"/>
                  </a:lnTo>
                  <a:lnTo>
                    <a:pt x="6951" y="11007"/>
                  </a:lnTo>
                  <a:lnTo>
                    <a:pt x="6921" y="11026"/>
                  </a:lnTo>
                  <a:lnTo>
                    <a:pt x="6894" y="11044"/>
                  </a:lnTo>
                  <a:lnTo>
                    <a:pt x="6866" y="11060"/>
                  </a:lnTo>
                  <a:lnTo>
                    <a:pt x="6839" y="11074"/>
                  </a:lnTo>
                  <a:lnTo>
                    <a:pt x="6813" y="11086"/>
                  </a:lnTo>
                  <a:lnTo>
                    <a:pt x="6788" y="11097"/>
                  </a:lnTo>
                  <a:lnTo>
                    <a:pt x="6763" y="11106"/>
                  </a:lnTo>
                  <a:lnTo>
                    <a:pt x="6739" y="11113"/>
                  </a:lnTo>
                  <a:lnTo>
                    <a:pt x="6715" y="11118"/>
                  </a:lnTo>
                  <a:lnTo>
                    <a:pt x="6691" y="11122"/>
                  </a:lnTo>
                  <a:lnTo>
                    <a:pt x="6667" y="11124"/>
                  </a:lnTo>
                  <a:lnTo>
                    <a:pt x="6645" y="11125"/>
                  </a:lnTo>
                  <a:lnTo>
                    <a:pt x="6627" y="11124"/>
                  </a:lnTo>
                  <a:lnTo>
                    <a:pt x="6610" y="11123"/>
                  </a:lnTo>
                  <a:lnTo>
                    <a:pt x="6592" y="11120"/>
                  </a:lnTo>
                  <a:lnTo>
                    <a:pt x="6576" y="11116"/>
                  </a:lnTo>
                  <a:lnTo>
                    <a:pt x="6558" y="11111"/>
                  </a:lnTo>
                  <a:lnTo>
                    <a:pt x="6541" y="11105"/>
                  </a:lnTo>
                  <a:lnTo>
                    <a:pt x="6524" y="11097"/>
                  </a:lnTo>
                  <a:lnTo>
                    <a:pt x="6506" y="11089"/>
                  </a:lnTo>
                  <a:lnTo>
                    <a:pt x="6489" y="11080"/>
                  </a:lnTo>
                  <a:lnTo>
                    <a:pt x="6471" y="11070"/>
                  </a:lnTo>
                  <a:lnTo>
                    <a:pt x="6454" y="11057"/>
                  </a:lnTo>
                  <a:lnTo>
                    <a:pt x="6436" y="11044"/>
                  </a:lnTo>
                  <a:lnTo>
                    <a:pt x="6418" y="11030"/>
                  </a:lnTo>
                  <a:lnTo>
                    <a:pt x="6399" y="11015"/>
                  </a:lnTo>
                  <a:lnTo>
                    <a:pt x="6379" y="10998"/>
                  </a:lnTo>
                  <a:lnTo>
                    <a:pt x="6360" y="10981"/>
                  </a:lnTo>
                  <a:lnTo>
                    <a:pt x="6340" y="10961"/>
                  </a:lnTo>
                  <a:lnTo>
                    <a:pt x="6320" y="10942"/>
                  </a:lnTo>
                  <a:lnTo>
                    <a:pt x="6299" y="10920"/>
                  </a:lnTo>
                  <a:lnTo>
                    <a:pt x="6277" y="10898"/>
                  </a:lnTo>
                  <a:lnTo>
                    <a:pt x="6255" y="10874"/>
                  </a:lnTo>
                  <a:lnTo>
                    <a:pt x="6232" y="10849"/>
                  </a:lnTo>
                  <a:lnTo>
                    <a:pt x="6208" y="10823"/>
                  </a:lnTo>
                  <a:lnTo>
                    <a:pt x="6184" y="10796"/>
                  </a:lnTo>
                  <a:lnTo>
                    <a:pt x="6160" y="10768"/>
                  </a:lnTo>
                  <a:lnTo>
                    <a:pt x="6134" y="10738"/>
                  </a:lnTo>
                  <a:lnTo>
                    <a:pt x="6107" y="10707"/>
                  </a:lnTo>
                  <a:lnTo>
                    <a:pt x="6079" y="10674"/>
                  </a:lnTo>
                  <a:lnTo>
                    <a:pt x="6050" y="10641"/>
                  </a:lnTo>
                  <a:lnTo>
                    <a:pt x="6021" y="10606"/>
                  </a:lnTo>
                  <a:lnTo>
                    <a:pt x="5990" y="10570"/>
                  </a:lnTo>
                  <a:lnTo>
                    <a:pt x="5958" y="10533"/>
                  </a:lnTo>
                  <a:lnTo>
                    <a:pt x="5938" y="10505"/>
                  </a:lnTo>
                  <a:lnTo>
                    <a:pt x="5917" y="10478"/>
                  </a:lnTo>
                  <a:lnTo>
                    <a:pt x="5897" y="10453"/>
                  </a:lnTo>
                  <a:lnTo>
                    <a:pt x="5880" y="10427"/>
                  </a:lnTo>
                  <a:lnTo>
                    <a:pt x="5846" y="10377"/>
                  </a:lnTo>
                  <a:lnTo>
                    <a:pt x="5817" y="10330"/>
                  </a:lnTo>
                  <a:lnTo>
                    <a:pt x="5791" y="10286"/>
                  </a:lnTo>
                  <a:lnTo>
                    <a:pt x="5769" y="10242"/>
                  </a:lnTo>
                  <a:lnTo>
                    <a:pt x="5751" y="10202"/>
                  </a:lnTo>
                  <a:lnTo>
                    <a:pt x="5735" y="10163"/>
                  </a:lnTo>
                  <a:lnTo>
                    <a:pt x="5724" y="10127"/>
                  </a:lnTo>
                  <a:lnTo>
                    <a:pt x="5715" y="10092"/>
                  </a:lnTo>
                  <a:lnTo>
                    <a:pt x="5708" y="10059"/>
                  </a:lnTo>
                  <a:lnTo>
                    <a:pt x="5705" y="10027"/>
                  </a:lnTo>
                  <a:lnTo>
                    <a:pt x="5705" y="9997"/>
                  </a:lnTo>
                  <a:lnTo>
                    <a:pt x="5706" y="9969"/>
                  </a:lnTo>
                  <a:lnTo>
                    <a:pt x="5710" y="9943"/>
                  </a:lnTo>
                  <a:lnTo>
                    <a:pt x="5718" y="9917"/>
                  </a:lnTo>
                  <a:lnTo>
                    <a:pt x="5726" y="9893"/>
                  </a:lnTo>
                  <a:lnTo>
                    <a:pt x="5735" y="9870"/>
                  </a:lnTo>
                  <a:lnTo>
                    <a:pt x="5748" y="9848"/>
                  </a:lnTo>
                  <a:lnTo>
                    <a:pt x="5761" y="9827"/>
                  </a:lnTo>
                  <a:lnTo>
                    <a:pt x="5776" y="9808"/>
                  </a:lnTo>
                  <a:lnTo>
                    <a:pt x="5792" y="9788"/>
                  </a:lnTo>
                  <a:lnTo>
                    <a:pt x="5810" y="9770"/>
                  </a:lnTo>
                  <a:lnTo>
                    <a:pt x="5827" y="9752"/>
                  </a:lnTo>
                  <a:lnTo>
                    <a:pt x="5866" y="9719"/>
                  </a:lnTo>
                  <a:lnTo>
                    <a:pt x="5907" y="9688"/>
                  </a:lnTo>
                  <a:lnTo>
                    <a:pt x="5949" y="9658"/>
                  </a:lnTo>
                  <a:lnTo>
                    <a:pt x="5990" y="9628"/>
                  </a:lnTo>
                  <a:lnTo>
                    <a:pt x="6073" y="9583"/>
                  </a:lnTo>
                  <a:lnTo>
                    <a:pt x="6156" y="9541"/>
                  </a:lnTo>
                  <a:lnTo>
                    <a:pt x="6197" y="9520"/>
                  </a:lnTo>
                  <a:lnTo>
                    <a:pt x="6237" y="9500"/>
                  </a:lnTo>
                  <a:lnTo>
                    <a:pt x="6276" y="9480"/>
                  </a:lnTo>
                  <a:lnTo>
                    <a:pt x="6313" y="9462"/>
                  </a:lnTo>
                  <a:lnTo>
                    <a:pt x="6348" y="9442"/>
                  </a:lnTo>
                  <a:lnTo>
                    <a:pt x="6383" y="9424"/>
                  </a:lnTo>
                  <a:lnTo>
                    <a:pt x="6413" y="9406"/>
                  </a:lnTo>
                  <a:lnTo>
                    <a:pt x="6441" y="9387"/>
                  </a:lnTo>
                  <a:lnTo>
                    <a:pt x="6466" y="9370"/>
                  </a:lnTo>
                  <a:lnTo>
                    <a:pt x="6488" y="9352"/>
                  </a:lnTo>
                  <a:lnTo>
                    <a:pt x="6505" y="9335"/>
                  </a:lnTo>
                  <a:lnTo>
                    <a:pt x="6514" y="9326"/>
                  </a:lnTo>
                  <a:lnTo>
                    <a:pt x="6520" y="9317"/>
                  </a:lnTo>
                  <a:lnTo>
                    <a:pt x="6525" y="9307"/>
                  </a:lnTo>
                  <a:lnTo>
                    <a:pt x="6530" y="9295"/>
                  </a:lnTo>
                  <a:lnTo>
                    <a:pt x="6535" y="9279"/>
                  </a:lnTo>
                  <a:lnTo>
                    <a:pt x="6538" y="9262"/>
                  </a:lnTo>
                  <a:lnTo>
                    <a:pt x="6543" y="9242"/>
                  </a:lnTo>
                  <a:lnTo>
                    <a:pt x="6546" y="9222"/>
                  </a:lnTo>
                  <a:lnTo>
                    <a:pt x="6549" y="9198"/>
                  </a:lnTo>
                  <a:lnTo>
                    <a:pt x="6551" y="9173"/>
                  </a:lnTo>
                  <a:lnTo>
                    <a:pt x="6553" y="9147"/>
                  </a:lnTo>
                  <a:lnTo>
                    <a:pt x="6555" y="9120"/>
                  </a:lnTo>
                  <a:lnTo>
                    <a:pt x="6556" y="9092"/>
                  </a:lnTo>
                  <a:lnTo>
                    <a:pt x="6557" y="9062"/>
                  </a:lnTo>
                  <a:lnTo>
                    <a:pt x="6558" y="9001"/>
                  </a:lnTo>
                  <a:lnTo>
                    <a:pt x="6559" y="8939"/>
                  </a:lnTo>
                  <a:lnTo>
                    <a:pt x="6558" y="8877"/>
                  </a:lnTo>
                  <a:lnTo>
                    <a:pt x="6558" y="8815"/>
                  </a:lnTo>
                  <a:lnTo>
                    <a:pt x="6556" y="8755"/>
                  </a:lnTo>
                  <a:lnTo>
                    <a:pt x="6556" y="8726"/>
                  </a:lnTo>
                  <a:lnTo>
                    <a:pt x="6555" y="8699"/>
                  </a:lnTo>
                  <a:lnTo>
                    <a:pt x="6554" y="8673"/>
                  </a:lnTo>
                  <a:lnTo>
                    <a:pt x="6554" y="8648"/>
                  </a:lnTo>
                  <a:lnTo>
                    <a:pt x="6553" y="8625"/>
                  </a:lnTo>
                  <a:lnTo>
                    <a:pt x="6552" y="8604"/>
                  </a:lnTo>
                  <a:lnTo>
                    <a:pt x="6552" y="8584"/>
                  </a:lnTo>
                  <a:lnTo>
                    <a:pt x="6552" y="8567"/>
                  </a:lnTo>
                  <a:lnTo>
                    <a:pt x="6551" y="8551"/>
                  </a:lnTo>
                  <a:lnTo>
                    <a:pt x="6551" y="8538"/>
                  </a:lnTo>
                  <a:lnTo>
                    <a:pt x="6548" y="8561"/>
                  </a:lnTo>
                  <a:lnTo>
                    <a:pt x="6543" y="8586"/>
                  </a:lnTo>
                  <a:lnTo>
                    <a:pt x="6537" y="8612"/>
                  </a:lnTo>
                  <a:lnTo>
                    <a:pt x="6530" y="8638"/>
                  </a:lnTo>
                  <a:lnTo>
                    <a:pt x="6522" y="8664"/>
                  </a:lnTo>
                  <a:lnTo>
                    <a:pt x="6512" y="8691"/>
                  </a:lnTo>
                  <a:lnTo>
                    <a:pt x="6500" y="8718"/>
                  </a:lnTo>
                  <a:lnTo>
                    <a:pt x="6488" y="8746"/>
                  </a:lnTo>
                  <a:lnTo>
                    <a:pt x="6474" y="8773"/>
                  </a:lnTo>
                  <a:lnTo>
                    <a:pt x="6458" y="8800"/>
                  </a:lnTo>
                  <a:lnTo>
                    <a:pt x="6441" y="8827"/>
                  </a:lnTo>
                  <a:lnTo>
                    <a:pt x="6422" y="8855"/>
                  </a:lnTo>
                  <a:lnTo>
                    <a:pt x="6401" y="8882"/>
                  </a:lnTo>
                  <a:lnTo>
                    <a:pt x="6379" y="8907"/>
                  </a:lnTo>
                  <a:lnTo>
                    <a:pt x="6355" y="8933"/>
                  </a:lnTo>
                  <a:lnTo>
                    <a:pt x="6329" y="8959"/>
                  </a:lnTo>
                  <a:lnTo>
                    <a:pt x="6301" y="8984"/>
                  </a:lnTo>
                  <a:lnTo>
                    <a:pt x="6271" y="9006"/>
                  </a:lnTo>
                  <a:lnTo>
                    <a:pt x="6239" y="9029"/>
                  </a:lnTo>
                  <a:lnTo>
                    <a:pt x="6205" y="9052"/>
                  </a:lnTo>
                  <a:lnTo>
                    <a:pt x="6169" y="9071"/>
                  </a:lnTo>
                  <a:lnTo>
                    <a:pt x="6131" y="9091"/>
                  </a:lnTo>
                  <a:lnTo>
                    <a:pt x="6089" y="9109"/>
                  </a:lnTo>
                  <a:lnTo>
                    <a:pt x="6047" y="9126"/>
                  </a:lnTo>
                  <a:lnTo>
                    <a:pt x="6002" y="9140"/>
                  </a:lnTo>
                  <a:lnTo>
                    <a:pt x="5954" y="9154"/>
                  </a:lnTo>
                  <a:lnTo>
                    <a:pt x="5905" y="9165"/>
                  </a:lnTo>
                  <a:lnTo>
                    <a:pt x="5852" y="9174"/>
                  </a:lnTo>
                  <a:lnTo>
                    <a:pt x="5796" y="9182"/>
                  </a:lnTo>
                  <a:lnTo>
                    <a:pt x="5739" y="9188"/>
                  </a:lnTo>
                  <a:lnTo>
                    <a:pt x="5678" y="9192"/>
                  </a:lnTo>
                  <a:lnTo>
                    <a:pt x="5616" y="9193"/>
                  </a:lnTo>
                  <a:lnTo>
                    <a:pt x="5554" y="9193"/>
                  </a:lnTo>
                  <a:lnTo>
                    <a:pt x="5477" y="9188"/>
                  </a:lnTo>
                  <a:lnTo>
                    <a:pt x="5403" y="9180"/>
                  </a:lnTo>
                  <a:lnTo>
                    <a:pt x="5334" y="9170"/>
                  </a:lnTo>
                  <a:lnTo>
                    <a:pt x="5267" y="9158"/>
                  </a:lnTo>
                  <a:lnTo>
                    <a:pt x="5204" y="9142"/>
                  </a:lnTo>
                  <a:lnTo>
                    <a:pt x="5144" y="9126"/>
                  </a:lnTo>
                  <a:lnTo>
                    <a:pt x="5086" y="9106"/>
                  </a:lnTo>
                  <a:lnTo>
                    <a:pt x="5032" y="9085"/>
                  </a:lnTo>
                  <a:lnTo>
                    <a:pt x="4982" y="9062"/>
                  </a:lnTo>
                  <a:lnTo>
                    <a:pt x="4934" y="9037"/>
                  </a:lnTo>
                  <a:lnTo>
                    <a:pt x="4889" y="9012"/>
                  </a:lnTo>
                  <a:lnTo>
                    <a:pt x="4847" y="8985"/>
                  </a:lnTo>
                  <a:lnTo>
                    <a:pt x="4807" y="8957"/>
                  </a:lnTo>
                  <a:lnTo>
                    <a:pt x="4771" y="8928"/>
                  </a:lnTo>
                  <a:lnTo>
                    <a:pt x="4736" y="8899"/>
                  </a:lnTo>
                  <a:lnTo>
                    <a:pt x="4704" y="8869"/>
                  </a:lnTo>
                  <a:lnTo>
                    <a:pt x="4675" y="8839"/>
                  </a:lnTo>
                  <a:lnTo>
                    <a:pt x="4647" y="8809"/>
                  </a:lnTo>
                  <a:lnTo>
                    <a:pt x="4622" y="8779"/>
                  </a:lnTo>
                  <a:lnTo>
                    <a:pt x="4600" y="8749"/>
                  </a:lnTo>
                  <a:lnTo>
                    <a:pt x="4579" y="8720"/>
                  </a:lnTo>
                  <a:lnTo>
                    <a:pt x="4560" y="8691"/>
                  </a:lnTo>
                  <a:lnTo>
                    <a:pt x="4543" y="8663"/>
                  </a:lnTo>
                  <a:lnTo>
                    <a:pt x="4528" y="8636"/>
                  </a:lnTo>
                  <a:lnTo>
                    <a:pt x="4515" y="8610"/>
                  </a:lnTo>
                  <a:lnTo>
                    <a:pt x="4503" y="8585"/>
                  </a:lnTo>
                  <a:lnTo>
                    <a:pt x="4492" y="8562"/>
                  </a:lnTo>
                  <a:lnTo>
                    <a:pt x="4484" y="8541"/>
                  </a:lnTo>
                  <a:lnTo>
                    <a:pt x="4477" y="8521"/>
                  </a:lnTo>
                  <a:lnTo>
                    <a:pt x="4471" y="8504"/>
                  </a:lnTo>
                  <a:lnTo>
                    <a:pt x="4467" y="8488"/>
                  </a:lnTo>
                  <a:lnTo>
                    <a:pt x="4462" y="8476"/>
                  </a:lnTo>
                  <a:lnTo>
                    <a:pt x="4465" y="8501"/>
                  </a:lnTo>
                  <a:lnTo>
                    <a:pt x="4469" y="8528"/>
                  </a:lnTo>
                  <a:lnTo>
                    <a:pt x="4471" y="8558"/>
                  </a:lnTo>
                  <a:lnTo>
                    <a:pt x="4473" y="8590"/>
                  </a:lnTo>
                  <a:lnTo>
                    <a:pt x="4475" y="8625"/>
                  </a:lnTo>
                  <a:lnTo>
                    <a:pt x="4477" y="8661"/>
                  </a:lnTo>
                  <a:lnTo>
                    <a:pt x="4479" y="8699"/>
                  </a:lnTo>
                  <a:lnTo>
                    <a:pt x="4480" y="8740"/>
                  </a:lnTo>
                  <a:lnTo>
                    <a:pt x="4482" y="8780"/>
                  </a:lnTo>
                  <a:lnTo>
                    <a:pt x="4483" y="8822"/>
                  </a:lnTo>
                  <a:lnTo>
                    <a:pt x="4485" y="8910"/>
                  </a:lnTo>
                  <a:lnTo>
                    <a:pt x="4486" y="8998"/>
                  </a:lnTo>
                  <a:lnTo>
                    <a:pt x="4486" y="9088"/>
                  </a:lnTo>
                  <a:lnTo>
                    <a:pt x="4486" y="9175"/>
                  </a:lnTo>
                  <a:lnTo>
                    <a:pt x="4485" y="9219"/>
                  </a:lnTo>
                  <a:lnTo>
                    <a:pt x="4485" y="9262"/>
                  </a:lnTo>
                  <a:lnTo>
                    <a:pt x="4484" y="9303"/>
                  </a:lnTo>
                  <a:lnTo>
                    <a:pt x="4483" y="9342"/>
                  </a:lnTo>
                  <a:lnTo>
                    <a:pt x="4482" y="9381"/>
                  </a:lnTo>
                  <a:lnTo>
                    <a:pt x="4480" y="9418"/>
                  </a:lnTo>
                  <a:lnTo>
                    <a:pt x="4479" y="9453"/>
                  </a:lnTo>
                  <a:lnTo>
                    <a:pt x="4477" y="9486"/>
                  </a:lnTo>
                  <a:lnTo>
                    <a:pt x="4475" y="9516"/>
                  </a:lnTo>
                  <a:lnTo>
                    <a:pt x="4473" y="9545"/>
                  </a:lnTo>
                  <a:lnTo>
                    <a:pt x="4471" y="9571"/>
                  </a:lnTo>
                  <a:lnTo>
                    <a:pt x="4469" y="9592"/>
                  </a:lnTo>
                  <a:lnTo>
                    <a:pt x="4465" y="9612"/>
                  </a:lnTo>
                  <a:lnTo>
                    <a:pt x="4462" y="9628"/>
                  </a:lnTo>
                  <a:lnTo>
                    <a:pt x="4459" y="9642"/>
                  </a:lnTo>
                  <a:lnTo>
                    <a:pt x="4454" y="9656"/>
                  </a:lnTo>
                  <a:lnTo>
                    <a:pt x="4448" y="9673"/>
                  </a:lnTo>
                  <a:lnTo>
                    <a:pt x="4441" y="9691"/>
                  </a:lnTo>
                  <a:lnTo>
                    <a:pt x="4431" y="9712"/>
                  </a:lnTo>
                  <a:lnTo>
                    <a:pt x="4422" y="9734"/>
                  </a:lnTo>
                  <a:lnTo>
                    <a:pt x="4412" y="9756"/>
                  </a:lnTo>
                  <a:lnTo>
                    <a:pt x="4400" y="9781"/>
                  </a:lnTo>
                  <a:lnTo>
                    <a:pt x="4388" y="9806"/>
                  </a:lnTo>
                  <a:lnTo>
                    <a:pt x="4376" y="9832"/>
                  </a:lnTo>
                  <a:lnTo>
                    <a:pt x="4349" y="9887"/>
                  </a:lnTo>
                  <a:lnTo>
                    <a:pt x="4320" y="9945"/>
                  </a:lnTo>
                  <a:lnTo>
                    <a:pt x="4291" y="10002"/>
                  </a:lnTo>
                  <a:lnTo>
                    <a:pt x="4262" y="10061"/>
                  </a:lnTo>
                  <a:lnTo>
                    <a:pt x="4234" y="10118"/>
                  </a:lnTo>
                  <a:lnTo>
                    <a:pt x="4207" y="10173"/>
                  </a:lnTo>
                  <a:lnTo>
                    <a:pt x="4194" y="10199"/>
                  </a:lnTo>
                  <a:lnTo>
                    <a:pt x="4183" y="10225"/>
                  </a:lnTo>
                  <a:lnTo>
                    <a:pt x="4171" y="10249"/>
                  </a:lnTo>
                  <a:lnTo>
                    <a:pt x="4160" y="10272"/>
                  </a:lnTo>
                  <a:lnTo>
                    <a:pt x="4151" y="10294"/>
                  </a:lnTo>
                  <a:lnTo>
                    <a:pt x="4142" y="10313"/>
                  </a:lnTo>
                  <a:lnTo>
                    <a:pt x="4135" y="10332"/>
                  </a:lnTo>
                  <a:lnTo>
                    <a:pt x="4129" y="10350"/>
                  </a:lnTo>
                  <a:lnTo>
                    <a:pt x="4124" y="10364"/>
                  </a:lnTo>
                  <a:lnTo>
                    <a:pt x="4120" y="10376"/>
                  </a:lnTo>
                  <a:lnTo>
                    <a:pt x="4118" y="10389"/>
                  </a:lnTo>
                  <a:lnTo>
                    <a:pt x="4116" y="10402"/>
                  </a:lnTo>
                  <a:lnTo>
                    <a:pt x="4113" y="10418"/>
                  </a:lnTo>
                  <a:lnTo>
                    <a:pt x="4112" y="10433"/>
                  </a:lnTo>
                  <a:lnTo>
                    <a:pt x="4110" y="10467"/>
                  </a:lnTo>
                  <a:lnTo>
                    <a:pt x="4108" y="10504"/>
                  </a:lnTo>
                  <a:lnTo>
                    <a:pt x="4107" y="10544"/>
                  </a:lnTo>
                  <a:lnTo>
                    <a:pt x="4106" y="10585"/>
                  </a:lnTo>
                  <a:lnTo>
                    <a:pt x="4104" y="10629"/>
                  </a:lnTo>
                  <a:lnTo>
                    <a:pt x="4100" y="10673"/>
                  </a:lnTo>
                  <a:lnTo>
                    <a:pt x="4095" y="10716"/>
                  </a:lnTo>
                  <a:lnTo>
                    <a:pt x="4088" y="10759"/>
                  </a:lnTo>
                  <a:lnTo>
                    <a:pt x="4076" y="10802"/>
                  </a:lnTo>
                  <a:lnTo>
                    <a:pt x="4063" y="10841"/>
                  </a:lnTo>
                  <a:lnTo>
                    <a:pt x="4055" y="10860"/>
                  </a:lnTo>
                  <a:lnTo>
                    <a:pt x="4045" y="10879"/>
                  </a:lnTo>
                  <a:lnTo>
                    <a:pt x="4035" y="10896"/>
                  </a:lnTo>
                  <a:lnTo>
                    <a:pt x="4024" y="10913"/>
                  </a:lnTo>
                  <a:lnTo>
                    <a:pt x="4010" y="10928"/>
                  </a:lnTo>
                  <a:lnTo>
                    <a:pt x="3996" y="10943"/>
                  </a:lnTo>
                  <a:lnTo>
                    <a:pt x="3981" y="10956"/>
                  </a:lnTo>
                  <a:lnTo>
                    <a:pt x="3964" y="10969"/>
                  </a:lnTo>
                  <a:lnTo>
                    <a:pt x="3951" y="10975"/>
                  </a:lnTo>
                  <a:lnTo>
                    <a:pt x="3938" y="10981"/>
                  </a:lnTo>
                  <a:lnTo>
                    <a:pt x="3922" y="10986"/>
                  </a:lnTo>
                  <a:lnTo>
                    <a:pt x="3906" y="10992"/>
                  </a:lnTo>
                  <a:lnTo>
                    <a:pt x="3888" y="10997"/>
                  </a:lnTo>
                  <a:lnTo>
                    <a:pt x="3869" y="11003"/>
                  </a:lnTo>
                  <a:lnTo>
                    <a:pt x="3849" y="11008"/>
                  </a:lnTo>
                  <a:lnTo>
                    <a:pt x="3828" y="11012"/>
                  </a:lnTo>
                  <a:lnTo>
                    <a:pt x="3805" y="11016"/>
                  </a:lnTo>
                  <a:lnTo>
                    <a:pt x="3782" y="11020"/>
                  </a:lnTo>
                  <a:lnTo>
                    <a:pt x="3732" y="11026"/>
                  </a:lnTo>
                  <a:lnTo>
                    <a:pt x="3678" y="11029"/>
                  </a:lnTo>
                  <a:lnTo>
                    <a:pt x="3621" y="11031"/>
                  </a:lnTo>
                  <a:lnTo>
                    <a:pt x="3556" y="11029"/>
                  </a:lnTo>
                  <a:lnTo>
                    <a:pt x="3490" y="11025"/>
                  </a:lnTo>
                  <a:lnTo>
                    <a:pt x="3423" y="11019"/>
                  </a:lnTo>
                  <a:lnTo>
                    <a:pt x="3355" y="11010"/>
                  </a:lnTo>
                  <a:lnTo>
                    <a:pt x="3286" y="10998"/>
                  </a:lnTo>
                  <a:lnTo>
                    <a:pt x="3215" y="10984"/>
                  </a:lnTo>
                  <a:lnTo>
                    <a:pt x="3145" y="10969"/>
                  </a:lnTo>
                  <a:lnTo>
                    <a:pt x="3075" y="10950"/>
                  </a:lnTo>
                  <a:lnTo>
                    <a:pt x="3005" y="10930"/>
                  </a:lnTo>
                  <a:lnTo>
                    <a:pt x="2936" y="10909"/>
                  </a:lnTo>
                  <a:lnTo>
                    <a:pt x="2865" y="10886"/>
                  </a:lnTo>
                  <a:lnTo>
                    <a:pt x="2796" y="10861"/>
                  </a:lnTo>
                  <a:lnTo>
                    <a:pt x="2728" y="10836"/>
                  </a:lnTo>
                  <a:lnTo>
                    <a:pt x="2661" y="10808"/>
                  </a:lnTo>
                  <a:lnTo>
                    <a:pt x="2595" y="10780"/>
                  </a:lnTo>
                  <a:lnTo>
                    <a:pt x="2531" y="10751"/>
                  </a:lnTo>
                  <a:lnTo>
                    <a:pt x="2507" y="10741"/>
                  </a:lnTo>
                  <a:lnTo>
                    <a:pt x="2482" y="10732"/>
                  </a:lnTo>
                  <a:lnTo>
                    <a:pt x="2457" y="10721"/>
                  </a:lnTo>
                  <a:lnTo>
                    <a:pt x="2429" y="10712"/>
                  </a:lnTo>
                  <a:lnTo>
                    <a:pt x="2374" y="10693"/>
                  </a:lnTo>
                  <a:lnTo>
                    <a:pt x="2348" y="10681"/>
                  </a:lnTo>
                  <a:lnTo>
                    <a:pt x="2322" y="10670"/>
                  </a:lnTo>
                  <a:lnTo>
                    <a:pt x="2298" y="10658"/>
                  </a:lnTo>
                  <a:lnTo>
                    <a:pt x="2276" y="10643"/>
                  </a:lnTo>
                  <a:lnTo>
                    <a:pt x="2256" y="10629"/>
                  </a:lnTo>
                  <a:lnTo>
                    <a:pt x="2240" y="10611"/>
                  </a:lnTo>
                  <a:lnTo>
                    <a:pt x="2226" y="10593"/>
                  </a:lnTo>
                  <a:lnTo>
                    <a:pt x="2221" y="10583"/>
                  </a:lnTo>
                  <a:lnTo>
                    <a:pt x="2216" y="10573"/>
                  </a:lnTo>
                  <a:lnTo>
                    <a:pt x="2213" y="10562"/>
                  </a:lnTo>
                  <a:lnTo>
                    <a:pt x="2211" y="10550"/>
                  </a:lnTo>
                  <a:lnTo>
                    <a:pt x="2210" y="10538"/>
                  </a:lnTo>
                  <a:lnTo>
                    <a:pt x="2211" y="10525"/>
                  </a:lnTo>
                  <a:lnTo>
                    <a:pt x="2214" y="10490"/>
                  </a:lnTo>
                  <a:lnTo>
                    <a:pt x="2219" y="10452"/>
                  </a:lnTo>
                  <a:lnTo>
                    <a:pt x="2225" y="10411"/>
                  </a:lnTo>
                  <a:lnTo>
                    <a:pt x="2233" y="10369"/>
                  </a:lnTo>
                  <a:lnTo>
                    <a:pt x="2241" y="10326"/>
                  </a:lnTo>
                  <a:lnTo>
                    <a:pt x="2250" y="10281"/>
                  </a:lnTo>
                  <a:lnTo>
                    <a:pt x="2260" y="10234"/>
                  </a:lnTo>
                  <a:lnTo>
                    <a:pt x="2271" y="10187"/>
                  </a:lnTo>
                  <a:lnTo>
                    <a:pt x="2296" y="10091"/>
                  </a:lnTo>
                  <a:lnTo>
                    <a:pt x="2321" y="9993"/>
                  </a:lnTo>
                  <a:lnTo>
                    <a:pt x="2349" y="9895"/>
                  </a:lnTo>
                  <a:lnTo>
                    <a:pt x="2377" y="9801"/>
                  </a:lnTo>
                  <a:lnTo>
                    <a:pt x="2391" y="9754"/>
                  </a:lnTo>
                  <a:lnTo>
                    <a:pt x="2405" y="9709"/>
                  </a:lnTo>
                  <a:lnTo>
                    <a:pt x="2418" y="9666"/>
                  </a:lnTo>
                  <a:lnTo>
                    <a:pt x="2432" y="9623"/>
                  </a:lnTo>
                  <a:lnTo>
                    <a:pt x="2444" y="9583"/>
                  </a:lnTo>
                  <a:lnTo>
                    <a:pt x="2457" y="9545"/>
                  </a:lnTo>
                  <a:lnTo>
                    <a:pt x="2469" y="9509"/>
                  </a:lnTo>
                  <a:lnTo>
                    <a:pt x="2479" y="9476"/>
                  </a:lnTo>
                  <a:lnTo>
                    <a:pt x="2490" y="9445"/>
                  </a:lnTo>
                  <a:lnTo>
                    <a:pt x="2499" y="9417"/>
                  </a:lnTo>
                  <a:lnTo>
                    <a:pt x="2508" y="9393"/>
                  </a:lnTo>
                  <a:lnTo>
                    <a:pt x="2515" y="9372"/>
                  </a:lnTo>
                  <a:lnTo>
                    <a:pt x="2522" y="9355"/>
                  </a:lnTo>
                  <a:lnTo>
                    <a:pt x="2526" y="9340"/>
                  </a:lnTo>
                  <a:lnTo>
                    <a:pt x="2528" y="9335"/>
                  </a:lnTo>
                  <a:lnTo>
                    <a:pt x="2530" y="9331"/>
                  </a:lnTo>
                  <a:lnTo>
                    <a:pt x="2531" y="9327"/>
                  </a:lnTo>
                  <a:lnTo>
                    <a:pt x="2532" y="9325"/>
                  </a:lnTo>
                  <a:lnTo>
                    <a:pt x="2531" y="9325"/>
                  </a:lnTo>
                  <a:lnTo>
                    <a:pt x="2530" y="9322"/>
                  </a:lnTo>
                  <a:lnTo>
                    <a:pt x="2528" y="9318"/>
                  </a:lnTo>
                  <a:lnTo>
                    <a:pt x="2525" y="9313"/>
                  </a:lnTo>
                  <a:lnTo>
                    <a:pt x="2521" y="9307"/>
                  </a:lnTo>
                  <a:lnTo>
                    <a:pt x="2515" y="9300"/>
                  </a:lnTo>
                  <a:lnTo>
                    <a:pt x="2509" y="9291"/>
                  </a:lnTo>
                  <a:lnTo>
                    <a:pt x="2503" y="9280"/>
                  </a:lnTo>
                  <a:lnTo>
                    <a:pt x="2496" y="9269"/>
                  </a:lnTo>
                  <a:lnTo>
                    <a:pt x="2488" y="9256"/>
                  </a:lnTo>
                  <a:lnTo>
                    <a:pt x="2479" y="9242"/>
                  </a:lnTo>
                  <a:lnTo>
                    <a:pt x="2469" y="9227"/>
                  </a:lnTo>
                  <a:lnTo>
                    <a:pt x="2460" y="9211"/>
                  </a:lnTo>
                  <a:lnTo>
                    <a:pt x="2448" y="9194"/>
                  </a:lnTo>
                  <a:lnTo>
                    <a:pt x="2437" y="9175"/>
                  </a:lnTo>
                  <a:lnTo>
                    <a:pt x="2425" y="9156"/>
                  </a:lnTo>
                  <a:lnTo>
                    <a:pt x="2399" y="9113"/>
                  </a:lnTo>
                  <a:lnTo>
                    <a:pt x="2371" y="9068"/>
                  </a:lnTo>
                  <a:lnTo>
                    <a:pt x="2341" y="9019"/>
                  </a:lnTo>
                  <a:lnTo>
                    <a:pt x="2310" y="8966"/>
                  </a:lnTo>
                  <a:lnTo>
                    <a:pt x="2276" y="8910"/>
                  </a:lnTo>
                  <a:lnTo>
                    <a:pt x="2242" y="8851"/>
                  </a:lnTo>
                  <a:lnTo>
                    <a:pt x="2206" y="8789"/>
                  </a:lnTo>
                  <a:lnTo>
                    <a:pt x="2169" y="8725"/>
                  </a:lnTo>
                  <a:lnTo>
                    <a:pt x="2131" y="8658"/>
                  </a:lnTo>
                  <a:lnTo>
                    <a:pt x="2093" y="8590"/>
                  </a:lnTo>
                  <a:lnTo>
                    <a:pt x="2054" y="8520"/>
                  </a:lnTo>
                  <a:lnTo>
                    <a:pt x="2015" y="8448"/>
                  </a:lnTo>
                  <a:lnTo>
                    <a:pt x="1976" y="8375"/>
                  </a:lnTo>
                  <a:lnTo>
                    <a:pt x="1937" y="8300"/>
                  </a:lnTo>
                  <a:lnTo>
                    <a:pt x="1860" y="8148"/>
                  </a:lnTo>
                  <a:lnTo>
                    <a:pt x="1823" y="8072"/>
                  </a:lnTo>
                  <a:lnTo>
                    <a:pt x="1786" y="7995"/>
                  </a:lnTo>
                  <a:lnTo>
                    <a:pt x="1750" y="7918"/>
                  </a:lnTo>
                  <a:lnTo>
                    <a:pt x="1716" y="7841"/>
                  </a:lnTo>
                  <a:lnTo>
                    <a:pt x="1683" y="7765"/>
                  </a:lnTo>
                  <a:lnTo>
                    <a:pt x="1652" y="7689"/>
                  </a:lnTo>
                  <a:lnTo>
                    <a:pt x="1622" y="7615"/>
                  </a:lnTo>
                  <a:lnTo>
                    <a:pt x="1596" y="7541"/>
                  </a:lnTo>
                  <a:lnTo>
                    <a:pt x="1571" y="7466"/>
                  </a:lnTo>
                  <a:lnTo>
                    <a:pt x="1548" y="7391"/>
                  </a:lnTo>
                  <a:lnTo>
                    <a:pt x="1530" y="7314"/>
                  </a:lnTo>
                  <a:lnTo>
                    <a:pt x="1512" y="7236"/>
                  </a:lnTo>
                  <a:lnTo>
                    <a:pt x="1498" y="7156"/>
                  </a:lnTo>
                  <a:lnTo>
                    <a:pt x="1485" y="7076"/>
                  </a:lnTo>
                  <a:lnTo>
                    <a:pt x="1476" y="6996"/>
                  </a:lnTo>
                  <a:lnTo>
                    <a:pt x="1468" y="6915"/>
                  </a:lnTo>
                  <a:lnTo>
                    <a:pt x="1461" y="6835"/>
                  </a:lnTo>
                  <a:lnTo>
                    <a:pt x="1457" y="6755"/>
                  </a:lnTo>
                  <a:lnTo>
                    <a:pt x="1454" y="6675"/>
                  </a:lnTo>
                  <a:lnTo>
                    <a:pt x="1452" y="6597"/>
                  </a:lnTo>
                  <a:lnTo>
                    <a:pt x="1452" y="6520"/>
                  </a:lnTo>
                  <a:lnTo>
                    <a:pt x="1454" y="6444"/>
                  </a:lnTo>
                  <a:lnTo>
                    <a:pt x="1456" y="6370"/>
                  </a:lnTo>
                  <a:lnTo>
                    <a:pt x="1459" y="6298"/>
                  </a:lnTo>
                  <a:lnTo>
                    <a:pt x="1464" y="6228"/>
                  </a:lnTo>
                  <a:lnTo>
                    <a:pt x="1468" y="6161"/>
                  </a:lnTo>
                  <a:lnTo>
                    <a:pt x="1474" y="6098"/>
                  </a:lnTo>
                  <a:lnTo>
                    <a:pt x="1479" y="6036"/>
                  </a:lnTo>
                  <a:lnTo>
                    <a:pt x="1485" y="5978"/>
                  </a:lnTo>
                  <a:lnTo>
                    <a:pt x="1491" y="5923"/>
                  </a:lnTo>
                  <a:lnTo>
                    <a:pt x="1494" y="5899"/>
                  </a:lnTo>
                  <a:lnTo>
                    <a:pt x="1498" y="5874"/>
                  </a:lnTo>
                  <a:lnTo>
                    <a:pt x="1501" y="5850"/>
                  </a:lnTo>
                  <a:lnTo>
                    <a:pt x="1504" y="5828"/>
                  </a:lnTo>
                  <a:lnTo>
                    <a:pt x="1507" y="5806"/>
                  </a:lnTo>
                  <a:lnTo>
                    <a:pt x="1510" y="5785"/>
                  </a:lnTo>
                  <a:lnTo>
                    <a:pt x="1512" y="5767"/>
                  </a:lnTo>
                  <a:lnTo>
                    <a:pt x="1515" y="5748"/>
                  </a:lnTo>
                  <a:lnTo>
                    <a:pt x="1518" y="5732"/>
                  </a:lnTo>
                  <a:lnTo>
                    <a:pt x="1520" y="5716"/>
                  </a:lnTo>
                  <a:lnTo>
                    <a:pt x="1522" y="5702"/>
                  </a:lnTo>
                  <a:lnTo>
                    <a:pt x="1524" y="5690"/>
                  </a:lnTo>
                  <a:lnTo>
                    <a:pt x="1526" y="5678"/>
                  </a:lnTo>
                  <a:lnTo>
                    <a:pt x="1529" y="5668"/>
                  </a:lnTo>
                  <a:lnTo>
                    <a:pt x="1530" y="5660"/>
                  </a:lnTo>
                  <a:lnTo>
                    <a:pt x="1531" y="5653"/>
                  </a:lnTo>
                  <a:lnTo>
                    <a:pt x="1532" y="5647"/>
                  </a:lnTo>
                  <a:lnTo>
                    <a:pt x="1533" y="5643"/>
                  </a:lnTo>
                  <a:lnTo>
                    <a:pt x="1534" y="5641"/>
                  </a:lnTo>
                  <a:lnTo>
                    <a:pt x="1534" y="5640"/>
                  </a:lnTo>
                  <a:lnTo>
                    <a:pt x="1533" y="5640"/>
                  </a:lnTo>
                  <a:lnTo>
                    <a:pt x="1530" y="5642"/>
                  </a:lnTo>
                  <a:lnTo>
                    <a:pt x="1523" y="5645"/>
                  </a:lnTo>
                  <a:lnTo>
                    <a:pt x="1516" y="5649"/>
                  </a:lnTo>
                  <a:lnTo>
                    <a:pt x="1506" y="5655"/>
                  </a:lnTo>
                  <a:lnTo>
                    <a:pt x="1493" y="5660"/>
                  </a:lnTo>
                  <a:lnTo>
                    <a:pt x="1480" y="5665"/>
                  </a:lnTo>
                  <a:lnTo>
                    <a:pt x="1464" y="5671"/>
                  </a:lnTo>
                  <a:lnTo>
                    <a:pt x="1445" y="5677"/>
                  </a:lnTo>
                  <a:lnTo>
                    <a:pt x="1423" y="5682"/>
                  </a:lnTo>
                  <a:lnTo>
                    <a:pt x="1401" y="5688"/>
                  </a:lnTo>
                  <a:lnTo>
                    <a:pt x="1376" y="5693"/>
                  </a:lnTo>
                  <a:lnTo>
                    <a:pt x="1348" y="5697"/>
                  </a:lnTo>
                  <a:lnTo>
                    <a:pt x="1318" y="5700"/>
                  </a:lnTo>
                  <a:lnTo>
                    <a:pt x="1287" y="5702"/>
                  </a:lnTo>
                  <a:lnTo>
                    <a:pt x="1253" y="5702"/>
                  </a:lnTo>
                  <a:lnTo>
                    <a:pt x="1216" y="5701"/>
                  </a:lnTo>
                  <a:lnTo>
                    <a:pt x="1177" y="5697"/>
                  </a:lnTo>
                  <a:lnTo>
                    <a:pt x="1134" y="5691"/>
                  </a:lnTo>
                  <a:lnTo>
                    <a:pt x="1089" y="5682"/>
                  </a:lnTo>
                  <a:lnTo>
                    <a:pt x="1041" y="5673"/>
                  </a:lnTo>
                  <a:lnTo>
                    <a:pt x="990" y="5663"/>
                  </a:lnTo>
                  <a:lnTo>
                    <a:pt x="936" y="5651"/>
                  </a:lnTo>
                  <a:lnTo>
                    <a:pt x="879" y="5640"/>
                  </a:lnTo>
                  <a:lnTo>
                    <a:pt x="848" y="5624"/>
                  </a:lnTo>
                  <a:lnTo>
                    <a:pt x="818" y="5606"/>
                  </a:lnTo>
                  <a:lnTo>
                    <a:pt x="791" y="5587"/>
                  </a:lnTo>
                  <a:lnTo>
                    <a:pt x="766" y="5564"/>
                  </a:lnTo>
                  <a:lnTo>
                    <a:pt x="742" y="5541"/>
                  </a:lnTo>
                  <a:lnTo>
                    <a:pt x="720" y="5516"/>
                  </a:lnTo>
                  <a:lnTo>
                    <a:pt x="700" y="5490"/>
                  </a:lnTo>
                  <a:lnTo>
                    <a:pt x="681" y="5462"/>
                  </a:lnTo>
                  <a:lnTo>
                    <a:pt x="663" y="5434"/>
                  </a:lnTo>
                  <a:lnTo>
                    <a:pt x="647" y="5404"/>
                  </a:lnTo>
                  <a:lnTo>
                    <a:pt x="632" y="5374"/>
                  </a:lnTo>
                  <a:lnTo>
                    <a:pt x="619" y="5345"/>
                  </a:lnTo>
                  <a:lnTo>
                    <a:pt x="608" y="5314"/>
                  </a:lnTo>
                  <a:lnTo>
                    <a:pt x="596" y="5284"/>
                  </a:lnTo>
                  <a:lnTo>
                    <a:pt x="587" y="5253"/>
                  </a:lnTo>
                  <a:lnTo>
                    <a:pt x="579" y="5223"/>
                  </a:lnTo>
                  <a:lnTo>
                    <a:pt x="564" y="5164"/>
                  </a:lnTo>
                  <a:lnTo>
                    <a:pt x="559" y="5136"/>
                  </a:lnTo>
                  <a:lnTo>
                    <a:pt x="554" y="5109"/>
                  </a:lnTo>
                  <a:lnTo>
                    <a:pt x="550" y="5083"/>
                  </a:lnTo>
                  <a:lnTo>
                    <a:pt x="546" y="5058"/>
                  </a:lnTo>
                  <a:lnTo>
                    <a:pt x="544" y="5034"/>
                  </a:lnTo>
                  <a:lnTo>
                    <a:pt x="541" y="5013"/>
                  </a:lnTo>
                  <a:lnTo>
                    <a:pt x="540" y="4993"/>
                  </a:lnTo>
                  <a:lnTo>
                    <a:pt x="538" y="4976"/>
                  </a:lnTo>
                  <a:lnTo>
                    <a:pt x="538" y="4960"/>
                  </a:lnTo>
                  <a:lnTo>
                    <a:pt x="536" y="4947"/>
                  </a:lnTo>
                  <a:lnTo>
                    <a:pt x="536" y="4937"/>
                  </a:lnTo>
                  <a:lnTo>
                    <a:pt x="535" y="4929"/>
                  </a:lnTo>
                  <a:lnTo>
                    <a:pt x="535" y="4924"/>
                  </a:lnTo>
                  <a:lnTo>
                    <a:pt x="535" y="4923"/>
                  </a:lnTo>
                  <a:lnTo>
                    <a:pt x="535" y="4922"/>
                  </a:lnTo>
                  <a:lnTo>
                    <a:pt x="533" y="4921"/>
                  </a:lnTo>
                  <a:lnTo>
                    <a:pt x="530" y="4920"/>
                  </a:lnTo>
                  <a:lnTo>
                    <a:pt x="526" y="4917"/>
                  </a:lnTo>
                  <a:lnTo>
                    <a:pt x="516" y="4909"/>
                  </a:lnTo>
                  <a:lnTo>
                    <a:pt x="503" y="4899"/>
                  </a:lnTo>
                  <a:lnTo>
                    <a:pt x="488" y="4884"/>
                  </a:lnTo>
                  <a:lnTo>
                    <a:pt x="471" y="4866"/>
                  </a:lnTo>
                  <a:lnTo>
                    <a:pt x="455" y="4844"/>
                  </a:lnTo>
                  <a:lnTo>
                    <a:pt x="438" y="4818"/>
                  </a:lnTo>
                  <a:lnTo>
                    <a:pt x="430" y="4804"/>
                  </a:lnTo>
                  <a:lnTo>
                    <a:pt x="423" y="4788"/>
                  </a:lnTo>
                  <a:lnTo>
                    <a:pt x="416" y="4772"/>
                  </a:lnTo>
                  <a:lnTo>
                    <a:pt x="410" y="4754"/>
                  </a:lnTo>
                  <a:lnTo>
                    <a:pt x="404" y="4736"/>
                  </a:lnTo>
                  <a:lnTo>
                    <a:pt x="399" y="4716"/>
                  </a:lnTo>
                  <a:lnTo>
                    <a:pt x="395" y="4696"/>
                  </a:lnTo>
                  <a:lnTo>
                    <a:pt x="391" y="4673"/>
                  </a:lnTo>
                  <a:lnTo>
                    <a:pt x="389" y="4650"/>
                  </a:lnTo>
                  <a:lnTo>
                    <a:pt x="388" y="4627"/>
                  </a:lnTo>
                  <a:lnTo>
                    <a:pt x="388" y="4601"/>
                  </a:lnTo>
                  <a:lnTo>
                    <a:pt x="390" y="4574"/>
                  </a:lnTo>
                  <a:lnTo>
                    <a:pt x="393" y="4546"/>
                  </a:lnTo>
                  <a:lnTo>
                    <a:pt x="397" y="4517"/>
                  </a:lnTo>
                  <a:lnTo>
                    <a:pt x="403" y="4488"/>
                  </a:lnTo>
                  <a:lnTo>
                    <a:pt x="412" y="4456"/>
                  </a:lnTo>
                  <a:lnTo>
                    <a:pt x="421" y="4424"/>
                  </a:lnTo>
                  <a:lnTo>
                    <a:pt x="433" y="4392"/>
                  </a:lnTo>
                  <a:lnTo>
                    <a:pt x="449" y="4361"/>
                  </a:lnTo>
                  <a:lnTo>
                    <a:pt x="465" y="4329"/>
                  </a:lnTo>
                  <a:lnTo>
                    <a:pt x="484" y="4298"/>
                  </a:lnTo>
                  <a:lnTo>
                    <a:pt x="503" y="4268"/>
                  </a:lnTo>
                  <a:lnTo>
                    <a:pt x="525" y="4238"/>
                  </a:lnTo>
                  <a:lnTo>
                    <a:pt x="548" y="4209"/>
                  </a:lnTo>
                  <a:lnTo>
                    <a:pt x="573" y="4181"/>
                  </a:lnTo>
                  <a:lnTo>
                    <a:pt x="597" y="4152"/>
                  </a:lnTo>
                  <a:lnTo>
                    <a:pt x="650" y="4098"/>
                  </a:lnTo>
                  <a:lnTo>
                    <a:pt x="704" y="4048"/>
                  </a:lnTo>
                  <a:lnTo>
                    <a:pt x="758" y="4000"/>
                  </a:lnTo>
                  <a:lnTo>
                    <a:pt x="785" y="3978"/>
                  </a:lnTo>
                  <a:lnTo>
                    <a:pt x="811" y="3957"/>
                  </a:lnTo>
                  <a:lnTo>
                    <a:pt x="837" y="3936"/>
                  </a:lnTo>
                  <a:lnTo>
                    <a:pt x="863" y="3918"/>
                  </a:lnTo>
                  <a:lnTo>
                    <a:pt x="886" y="3900"/>
                  </a:lnTo>
                  <a:lnTo>
                    <a:pt x="909" y="3884"/>
                  </a:lnTo>
                  <a:lnTo>
                    <a:pt x="931" y="3870"/>
                  </a:lnTo>
                  <a:lnTo>
                    <a:pt x="950" y="3855"/>
                  </a:lnTo>
                  <a:lnTo>
                    <a:pt x="969" y="3843"/>
                  </a:lnTo>
                  <a:lnTo>
                    <a:pt x="986" y="3832"/>
                  </a:lnTo>
                  <a:lnTo>
                    <a:pt x="1000" y="3823"/>
                  </a:lnTo>
                  <a:lnTo>
                    <a:pt x="1012" y="3815"/>
                  </a:lnTo>
                  <a:lnTo>
                    <a:pt x="1022" y="3810"/>
                  </a:lnTo>
                  <a:lnTo>
                    <a:pt x="1029" y="3805"/>
                  </a:lnTo>
                  <a:lnTo>
                    <a:pt x="1033" y="3803"/>
                  </a:lnTo>
                  <a:lnTo>
                    <a:pt x="1035" y="3802"/>
                  </a:lnTo>
                  <a:lnTo>
                    <a:pt x="1034" y="3803"/>
                  </a:lnTo>
                  <a:lnTo>
                    <a:pt x="1033" y="3805"/>
                  </a:lnTo>
                  <a:lnTo>
                    <a:pt x="1032" y="3809"/>
                  </a:lnTo>
                  <a:lnTo>
                    <a:pt x="1030" y="3814"/>
                  </a:lnTo>
                  <a:lnTo>
                    <a:pt x="1027" y="3821"/>
                  </a:lnTo>
                  <a:lnTo>
                    <a:pt x="1024" y="3830"/>
                  </a:lnTo>
                  <a:lnTo>
                    <a:pt x="1020" y="3841"/>
                  </a:lnTo>
                  <a:lnTo>
                    <a:pt x="1015" y="3852"/>
                  </a:lnTo>
                  <a:lnTo>
                    <a:pt x="1011" y="3865"/>
                  </a:lnTo>
                  <a:lnTo>
                    <a:pt x="1007" y="3881"/>
                  </a:lnTo>
                  <a:lnTo>
                    <a:pt x="1002" y="3897"/>
                  </a:lnTo>
                  <a:lnTo>
                    <a:pt x="997" y="3915"/>
                  </a:lnTo>
                  <a:lnTo>
                    <a:pt x="992" y="3933"/>
                  </a:lnTo>
                  <a:lnTo>
                    <a:pt x="987" y="3954"/>
                  </a:lnTo>
                  <a:lnTo>
                    <a:pt x="981" y="3977"/>
                  </a:lnTo>
                  <a:lnTo>
                    <a:pt x="976" y="4000"/>
                  </a:lnTo>
                  <a:lnTo>
                    <a:pt x="971" y="4025"/>
                  </a:lnTo>
                  <a:lnTo>
                    <a:pt x="966" y="4051"/>
                  </a:lnTo>
                  <a:lnTo>
                    <a:pt x="962" y="4079"/>
                  </a:lnTo>
                  <a:lnTo>
                    <a:pt x="957" y="4107"/>
                  </a:lnTo>
                  <a:lnTo>
                    <a:pt x="953" y="4137"/>
                  </a:lnTo>
                  <a:lnTo>
                    <a:pt x="949" y="4168"/>
                  </a:lnTo>
                  <a:lnTo>
                    <a:pt x="945" y="4201"/>
                  </a:lnTo>
                  <a:lnTo>
                    <a:pt x="942" y="4235"/>
                  </a:lnTo>
                  <a:lnTo>
                    <a:pt x="940" y="4270"/>
                  </a:lnTo>
                  <a:lnTo>
                    <a:pt x="938" y="4306"/>
                  </a:lnTo>
                  <a:lnTo>
                    <a:pt x="937" y="4344"/>
                  </a:lnTo>
                  <a:lnTo>
                    <a:pt x="936" y="4382"/>
                  </a:lnTo>
                  <a:lnTo>
                    <a:pt x="936" y="4423"/>
                  </a:lnTo>
                  <a:lnTo>
                    <a:pt x="937" y="4464"/>
                  </a:lnTo>
                  <a:lnTo>
                    <a:pt x="938" y="4506"/>
                  </a:lnTo>
                  <a:lnTo>
                    <a:pt x="941" y="4549"/>
                  </a:lnTo>
                  <a:lnTo>
                    <a:pt x="943" y="4575"/>
                  </a:lnTo>
                  <a:lnTo>
                    <a:pt x="943" y="4599"/>
                  </a:lnTo>
                  <a:lnTo>
                    <a:pt x="943" y="4621"/>
                  </a:lnTo>
                  <a:lnTo>
                    <a:pt x="940" y="4643"/>
                  </a:lnTo>
                  <a:lnTo>
                    <a:pt x="937" y="4664"/>
                  </a:lnTo>
                  <a:lnTo>
                    <a:pt x="933" y="4682"/>
                  </a:lnTo>
                  <a:lnTo>
                    <a:pt x="927" y="4700"/>
                  </a:lnTo>
                  <a:lnTo>
                    <a:pt x="921" y="4716"/>
                  </a:lnTo>
                  <a:lnTo>
                    <a:pt x="912" y="4732"/>
                  </a:lnTo>
                  <a:lnTo>
                    <a:pt x="904" y="4746"/>
                  </a:lnTo>
                  <a:lnTo>
                    <a:pt x="896" y="4758"/>
                  </a:lnTo>
                  <a:lnTo>
                    <a:pt x="885" y="4771"/>
                  </a:lnTo>
                  <a:lnTo>
                    <a:pt x="866" y="4792"/>
                  </a:lnTo>
                  <a:lnTo>
                    <a:pt x="844" y="4810"/>
                  </a:lnTo>
                  <a:lnTo>
                    <a:pt x="821" y="4824"/>
                  </a:lnTo>
                  <a:lnTo>
                    <a:pt x="801" y="4836"/>
                  </a:lnTo>
                  <a:lnTo>
                    <a:pt x="780" y="4845"/>
                  </a:lnTo>
                  <a:lnTo>
                    <a:pt x="762" y="4851"/>
                  </a:lnTo>
                  <a:lnTo>
                    <a:pt x="746" y="4856"/>
                  </a:lnTo>
                  <a:lnTo>
                    <a:pt x="740" y="4857"/>
                  </a:lnTo>
                  <a:lnTo>
                    <a:pt x="734" y="4858"/>
                  </a:lnTo>
                  <a:lnTo>
                    <a:pt x="730" y="4859"/>
                  </a:lnTo>
                  <a:lnTo>
                    <a:pt x="725" y="4860"/>
                  </a:lnTo>
                  <a:lnTo>
                    <a:pt x="723" y="4860"/>
                  </a:lnTo>
                  <a:lnTo>
                    <a:pt x="723" y="4860"/>
                  </a:lnTo>
                  <a:lnTo>
                    <a:pt x="723" y="4861"/>
                  </a:lnTo>
                  <a:lnTo>
                    <a:pt x="724" y="4865"/>
                  </a:lnTo>
                  <a:lnTo>
                    <a:pt x="726" y="4869"/>
                  </a:lnTo>
                  <a:lnTo>
                    <a:pt x="728" y="4874"/>
                  </a:lnTo>
                  <a:lnTo>
                    <a:pt x="733" y="4881"/>
                  </a:lnTo>
                  <a:lnTo>
                    <a:pt x="737" y="4889"/>
                  </a:lnTo>
                  <a:lnTo>
                    <a:pt x="741" y="4899"/>
                  </a:lnTo>
                  <a:lnTo>
                    <a:pt x="747" y="4910"/>
                  </a:lnTo>
                  <a:lnTo>
                    <a:pt x="760" y="4933"/>
                  </a:lnTo>
                  <a:lnTo>
                    <a:pt x="777" y="4959"/>
                  </a:lnTo>
                  <a:lnTo>
                    <a:pt x="798" y="4987"/>
                  </a:lnTo>
                  <a:lnTo>
                    <a:pt x="820" y="5017"/>
                  </a:lnTo>
                  <a:lnTo>
                    <a:pt x="847" y="5046"/>
                  </a:lnTo>
                  <a:lnTo>
                    <a:pt x="877" y="5074"/>
                  </a:lnTo>
                  <a:lnTo>
                    <a:pt x="910" y="5100"/>
                  </a:lnTo>
                  <a:lnTo>
                    <a:pt x="946" y="5124"/>
                  </a:lnTo>
                  <a:lnTo>
                    <a:pt x="966" y="5134"/>
                  </a:lnTo>
                  <a:lnTo>
                    <a:pt x="987" y="5144"/>
                  </a:lnTo>
                  <a:lnTo>
                    <a:pt x="1008" y="5152"/>
                  </a:lnTo>
                  <a:lnTo>
                    <a:pt x="1030" y="5159"/>
                  </a:lnTo>
                  <a:lnTo>
                    <a:pt x="1054" y="5164"/>
                  </a:lnTo>
                  <a:lnTo>
                    <a:pt x="1077" y="5168"/>
                  </a:lnTo>
                  <a:lnTo>
                    <a:pt x="1102" y="5171"/>
                  </a:lnTo>
                  <a:lnTo>
                    <a:pt x="1128" y="5173"/>
                  </a:lnTo>
                  <a:lnTo>
                    <a:pt x="1190" y="5173"/>
                  </a:lnTo>
                  <a:lnTo>
                    <a:pt x="1219" y="5168"/>
                  </a:lnTo>
                  <a:lnTo>
                    <a:pt x="1247" y="5163"/>
                  </a:lnTo>
                  <a:lnTo>
                    <a:pt x="1275" y="5155"/>
                  </a:lnTo>
                  <a:lnTo>
                    <a:pt x="1301" y="5146"/>
                  </a:lnTo>
                  <a:lnTo>
                    <a:pt x="1328" y="5133"/>
                  </a:lnTo>
                  <a:lnTo>
                    <a:pt x="1355" y="5120"/>
                  </a:lnTo>
                  <a:lnTo>
                    <a:pt x="1382" y="5104"/>
                  </a:lnTo>
                  <a:lnTo>
                    <a:pt x="1409" y="5085"/>
                  </a:lnTo>
                  <a:lnTo>
                    <a:pt x="1436" y="5064"/>
                  </a:lnTo>
                  <a:lnTo>
                    <a:pt x="1464" y="5041"/>
                  </a:lnTo>
                  <a:lnTo>
                    <a:pt x="1492" y="5015"/>
                  </a:lnTo>
                  <a:lnTo>
                    <a:pt x="1521" y="4986"/>
                  </a:lnTo>
                  <a:lnTo>
                    <a:pt x="1551" y="4955"/>
                  </a:lnTo>
                  <a:lnTo>
                    <a:pt x="1583" y="4921"/>
                  </a:lnTo>
                  <a:lnTo>
                    <a:pt x="1616" y="4885"/>
                  </a:lnTo>
                  <a:lnTo>
                    <a:pt x="1650" y="4845"/>
                  </a:lnTo>
                  <a:lnTo>
                    <a:pt x="1686" y="4803"/>
                  </a:lnTo>
                  <a:lnTo>
                    <a:pt x="1724" y="4757"/>
                  </a:lnTo>
                  <a:lnTo>
                    <a:pt x="1763" y="4709"/>
                  </a:lnTo>
                  <a:lnTo>
                    <a:pt x="1805" y="4657"/>
                  </a:lnTo>
                  <a:lnTo>
                    <a:pt x="1850" y="4603"/>
                  </a:lnTo>
                  <a:lnTo>
                    <a:pt x="1896" y="4544"/>
                  </a:lnTo>
                  <a:lnTo>
                    <a:pt x="1945" y="4483"/>
                  </a:lnTo>
                  <a:lnTo>
                    <a:pt x="1997" y="4419"/>
                  </a:lnTo>
                  <a:lnTo>
                    <a:pt x="2052" y="4351"/>
                  </a:lnTo>
                  <a:lnTo>
                    <a:pt x="2110" y="4278"/>
                  </a:lnTo>
                  <a:lnTo>
                    <a:pt x="2171" y="4203"/>
                  </a:lnTo>
                  <a:lnTo>
                    <a:pt x="2236" y="4124"/>
                  </a:lnTo>
                  <a:lnTo>
                    <a:pt x="2304" y="4042"/>
                  </a:lnTo>
                  <a:lnTo>
                    <a:pt x="2375" y="3955"/>
                  </a:lnTo>
                  <a:lnTo>
                    <a:pt x="2451" y="3864"/>
                  </a:lnTo>
                  <a:lnTo>
                    <a:pt x="2491" y="3818"/>
                  </a:lnTo>
                  <a:lnTo>
                    <a:pt x="2531" y="3770"/>
                  </a:lnTo>
                  <a:lnTo>
                    <a:pt x="2565" y="3730"/>
                  </a:lnTo>
                  <a:lnTo>
                    <a:pt x="2601" y="3692"/>
                  </a:lnTo>
                  <a:lnTo>
                    <a:pt x="2638" y="3655"/>
                  </a:lnTo>
                  <a:lnTo>
                    <a:pt x="2676" y="3619"/>
                  </a:lnTo>
                  <a:lnTo>
                    <a:pt x="2717" y="3583"/>
                  </a:lnTo>
                  <a:lnTo>
                    <a:pt x="2757" y="3548"/>
                  </a:lnTo>
                  <a:lnTo>
                    <a:pt x="2799" y="3514"/>
                  </a:lnTo>
                  <a:lnTo>
                    <a:pt x="2843" y="3481"/>
                  </a:lnTo>
                  <a:lnTo>
                    <a:pt x="2931" y="3417"/>
                  </a:lnTo>
                  <a:lnTo>
                    <a:pt x="3024" y="3357"/>
                  </a:lnTo>
                  <a:lnTo>
                    <a:pt x="3119" y="3299"/>
                  </a:lnTo>
                  <a:lnTo>
                    <a:pt x="3217" y="3244"/>
                  </a:lnTo>
                  <a:lnTo>
                    <a:pt x="3318" y="3193"/>
                  </a:lnTo>
                  <a:lnTo>
                    <a:pt x="3420" y="3144"/>
                  </a:lnTo>
                  <a:lnTo>
                    <a:pt x="3522" y="3098"/>
                  </a:lnTo>
                  <a:lnTo>
                    <a:pt x="3625" y="3055"/>
                  </a:lnTo>
                  <a:lnTo>
                    <a:pt x="3727" y="3015"/>
                  </a:lnTo>
                  <a:lnTo>
                    <a:pt x="3830" y="2976"/>
                  </a:lnTo>
                  <a:lnTo>
                    <a:pt x="3931" y="2941"/>
                  </a:lnTo>
                  <a:lnTo>
                    <a:pt x="4031" y="2908"/>
                  </a:lnTo>
                  <a:lnTo>
                    <a:pt x="4128" y="2879"/>
                  </a:lnTo>
                  <a:lnTo>
                    <a:pt x="4223" y="2851"/>
                  </a:lnTo>
                  <a:lnTo>
                    <a:pt x="4315" y="2825"/>
                  </a:lnTo>
                  <a:lnTo>
                    <a:pt x="4359" y="2814"/>
                  </a:lnTo>
                  <a:lnTo>
                    <a:pt x="4403" y="2802"/>
                  </a:lnTo>
                  <a:lnTo>
                    <a:pt x="4445" y="2792"/>
                  </a:lnTo>
                  <a:lnTo>
                    <a:pt x="4487" y="2782"/>
                  </a:lnTo>
                  <a:lnTo>
                    <a:pt x="4527" y="2771"/>
                  </a:lnTo>
                  <a:lnTo>
                    <a:pt x="4567" y="2762"/>
                  </a:lnTo>
                  <a:lnTo>
                    <a:pt x="4604" y="2754"/>
                  </a:lnTo>
                  <a:lnTo>
                    <a:pt x="4640" y="2746"/>
                  </a:lnTo>
                  <a:lnTo>
                    <a:pt x="4675" y="2739"/>
                  </a:lnTo>
                  <a:lnTo>
                    <a:pt x="4709" y="2731"/>
                  </a:lnTo>
                  <a:lnTo>
                    <a:pt x="4741" y="2724"/>
                  </a:lnTo>
                  <a:lnTo>
                    <a:pt x="4771" y="2719"/>
                  </a:lnTo>
                  <a:lnTo>
                    <a:pt x="4800" y="2713"/>
                  </a:lnTo>
                  <a:lnTo>
                    <a:pt x="4827" y="2708"/>
                  </a:lnTo>
                  <a:lnTo>
                    <a:pt x="4853" y="2702"/>
                  </a:lnTo>
                  <a:lnTo>
                    <a:pt x="4875" y="2698"/>
                  </a:lnTo>
                  <a:lnTo>
                    <a:pt x="4897" y="2695"/>
                  </a:lnTo>
                  <a:lnTo>
                    <a:pt x="4917" y="2691"/>
                  </a:lnTo>
                  <a:lnTo>
                    <a:pt x="4934" y="2688"/>
                  </a:lnTo>
                  <a:lnTo>
                    <a:pt x="4949" y="2686"/>
                  </a:lnTo>
                  <a:lnTo>
                    <a:pt x="4962" y="2684"/>
                  </a:lnTo>
                  <a:lnTo>
                    <a:pt x="4973" y="2682"/>
                  </a:lnTo>
                  <a:lnTo>
                    <a:pt x="4982" y="2681"/>
                  </a:lnTo>
                  <a:lnTo>
                    <a:pt x="4988" y="2680"/>
                  </a:lnTo>
                  <a:lnTo>
                    <a:pt x="4992" y="2679"/>
                  </a:lnTo>
                  <a:lnTo>
                    <a:pt x="4993" y="2679"/>
                  </a:lnTo>
                  <a:lnTo>
                    <a:pt x="4991" y="2681"/>
                  </a:lnTo>
                  <a:lnTo>
                    <a:pt x="4986" y="2686"/>
                  </a:lnTo>
                  <a:lnTo>
                    <a:pt x="4978" y="2695"/>
                  </a:lnTo>
                  <a:lnTo>
                    <a:pt x="4967" y="2708"/>
                  </a:lnTo>
                  <a:lnTo>
                    <a:pt x="4953" y="2723"/>
                  </a:lnTo>
                  <a:lnTo>
                    <a:pt x="4936" y="2742"/>
                  </a:lnTo>
                  <a:lnTo>
                    <a:pt x="4918" y="2762"/>
                  </a:lnTo>
                  <a:lnTo>
                    <a:pt x="4897" y="2785"/>
                  </a:lnTo>
                  <a:lnTo>
                    <a:pt x="4873" y="2811"/>
                  </a:lnTo>
                  <a:lnTo>
                    <a:pt x="4848" y="2838"/>
                  </a:lnTo>
                  <a:lnTo>
                    <a:pt x="4822" y="2868"/>
                  </a:lnTo>
                  <a:lnTo>
                    <a:pt x="4794" y="2899"/>
                  </a:lnTo>
                  <a:lnTo>
                    <a:pt x="4765" y="2932"/>
                  </a:lnTo>
                  <a:lnTo>
                    <a:pt x="4734" y="2966"/>
                  </a:lnTo>
                  <a:lnTo>
                    <a:pt x="4702" y="3001"/>
                  </a:lnTo>
                  <a:lnTo>
                    <a:pt x="4670" y="3037"/>
                  </a:lnTo>
                  <a:lnTo>
                    <a:pt x="4603" y="3111"/>
                  </a:lnTo>
                  <a:lnTo>
                    <a:pt x="4535" y="3188"/>
                  </a:lnTo>
                  <a:lnTo>
                    <a:pt x="4468" y="3263"/>
                  </a:lnTo>
                  <a:lnTo>
                    <a:pt x="4401" y="3337"/>
                  </a:lnTo>
                  <a:lnTo>
                    <a:pt x="4369" y="3372"/>
                  </a:lnTo>
                  <a:lnTo>
                    <a:pt x="4339" y="3407"/>
                  </a:lnTo>
                  <a:lnTo>
                    <a:pt x="4309" y="3440"/>
                  </a:lnTo>
                  <a:lnTo>
                    <a:pt x="4280" y="3473"/>
                  </a:lnTo>
                  <a:lnTo>
                    <a:pt x="4253" y="3503"/>
                  </a:lnTo>
                  <a:lnTo>
                    <a:pt x="4227" y="3532"/>
                  </a:lnTo>
                  <a:lnTo>
                    <a:pt x="4204" y="3558"/>
                  </a:lnTo>
                  <a:lnTo>
                    <a:pt x="4183" y="3583"/>
                  </a:lnTo>
                  <a:lnTo>
                    <a:pt x="4164" y="3607"/>
                  </a:lnTo>
                  <a:lnTo>
                    <a:pt x="4143" y="3634"/>
                  </a:lnTo>
                  <a:lnTo>
                    <a:pt x="4121" y="3661"/>
                  </a:lnTo>
                  <a:lnTo>
                    <a:pt x="4097" y="3691"/>
                  </a:lnTo>
                  <a:lnTo>
                    <a:pt x="4071" y="3723"/>
                  </a:lnTo>
                  <a:lnTo>
                    <a:pt x="4044" y="3756"/>
                  </a:lnTo>
                  <a:lnTo>
                    <a:pt x="4016" y="3791"/>
                  </a:lnTo>
                  <a:lnTo>
                    <a:pt x="3988" y="3828"/>
                  </a:lnTo>
                  <a:lnTo>
                    <a:pt x="3958" y="3865"/>
                  </a:lnTo>
                  <a:lnTo>
                    <a:pt x="3927" y="3905"/>
                  </a:lnTo>
                  <a:lnTo>
                    <a:pt x="3897" y="3945"/>
                  </a:lnTo>
                  <a:lnTo>
                    <a:pt x="3866" y="3987"/>
                  </a:lnTo>
                  <a:lnTo>
                    <a:pt x="3834" y="4029"/>
                  </a:lnTo>
                  <a:lnTo>
                    <a:pt x="3803" y="4073"/>
                  </a:lnTo>
                  <a:lnTo>
                    <a:pt x="3742" y="4163"/>
                  </a:lnTo>
                  <a:lnTo>
                    <a:pt x="3684" y="4257"/>
                  </a:lnTo>
                  <a:lnTo>
                    <a:pt x="3656" y="4305"/>
                  </a:lnTo>
                  <a:lnTo>
                    <a:pt x="3629" y="4354"/>
                  </a:lnTo>
                  <a:lnTo>
                    <a:pt x="3605" y="4402"/>
                  </a:lnTo>
                  <a:lnTo>
                    <a:pt x="3581" y="4451"/>
                  </a:lnTo>
                  <a:lnTo>
                    <a:pt x="3558" y="4502"/>
                  </a:lnTo>
                  <a:lnTo>
                    <a:pt x="3538" y="4551"/>
                  </a:lnTo>
                  <a:lnTo>
                    <a:pt x="3520" y="4602"/>
                  </a:lnTo>
                  <a:lnTo>
                    <a:pt x="3504" y="4652"/>
                  </a:lnTo>
                  <a:lnTo>
                    <a:pt x="3491" y="4703"/>
                  </a:lnTo>
                  <a:lnTo>
                    <a:pt x="3480" y="4753"/>
                  </a:lnTo>
                  <a:lnTo>
                    <a:pt x="3471" y="4804"/>
                  </a:lnTo>
                  <a:lnTo>
                    <a:pt x="3466" y="4854"/>
                  </a:lnTo>
                  <a:lnTo>
                    <a:pt x="3464" y="4905"/>
                  </a:lnTo>
                  <a:lnTo>
                    <a:pt x="3465" y="4954"/>
                  </a:lnTo>
                  <a:lnTo>
                    <a:pt x="3469" y="4984"/>
                  </a:lnTo>
                  <a:lnTo>
                    <a:pt x="3474" y="5014"/>
                  </a:lnTo>
                  <a:lnTo>
                    <a:pt x="3482" y="5045"/>
                  </a:lnTo>
                  <a:lnTo>
                    <a:pt x="3491" y="5076"/>
                  </a:lnTo>
                  <a:lnTo>
                    <a:pt x="3501" y="5107"/>
                  </a:lnTo>
                  <a:lnTo>
                    <a:pt x="3513" y="5139"/>
                  </a:lnTo>
                  <a:lnTo>
                    <a:pt x="3526" y="5170"/>
                  </a:lnTo>
                  <a:lnTo>
                    <a:pt x="3541" y="5202"/>
                  </a:lnTo>
                  <a:lnTo>
                    <a:pt x="3557" y="5234"/>
                  </a:lnTo>
                  <a:lnTo>
                    <a:pt x="3574" y="5267"/>
                  </a:lnTo>
                  <a:lnTo>
                    <a:pt x="3591" y="5300"/>
                  </a:lnTo>
                  <a:lnTo>
                    <a:pt x="3611" y="5333"/>
                  </a:lnTo>
                  <a:lnTo>
                    <a:pt x="3651" y="5399"/>
                  </a:lnTo>
                  <a:lnTo>
                    <a:pt x="3695" y="5465"/>
                  </a:lnTo>
                  <a:lnTo>
                    <a:pt x="3742" y="5530"/>
                  </a:lnTo>
                  <a:lnTo>
                    <a:pt x="3790" y="5595"/>
                  </a:lnTo>
                  <a:lnTo>
                    <a:pt x="3840" y="5659"/>
                  </a:lnTo>
                  <a:lnTo>
                    <a:pt x="3890" y="5722"/>
                  </a:lnTo>
                  <a:lnTo>
                    <a:pt x="3941" y="5782"/>
                  </a:lnTo>
                  <a:lnTo>
                    <a:pt x="3992" y="5841"/>
                  </a:lnTo>
                  <a:lnTo>
                    <a:pt x="4041" y="5898"/>
                  </a:lnTo>
                  <a:lnTo>
                    <a:pt x="4089" y="5951"/>
                  </a:lnTo>
                  <a:lnTo>
                    <a:pt x="4117" y="5986"/>
                  </a:lnTo>
                  <a:lnTo>
                    <a:pt x="4141" y="6020"/>
                  </a:lnTo>
                  <a:lnTo>
                    <a:pt x="4164" y="6052"/>
                  </a:lnTo>
                  <a:lnTo>
                    <a:pt x="4184" y="6084"/>
                  </a:lnTo>
                  <a:lnTo>
                    <a:pt x="4201" y="6114"/>
                  </a:lnTo>
                  <a:lnTo>
                    <a:pt x="4217" y="6142"/>
                  </a:lnTo>
                  <a:lnTo>
                    <a:pt x="4230" y="6169"/>
                  </a:lnTo>
                  <a:lnTo>
                    <a:pt x="4240" y="6193"/>
                  </a:lnTo>
                  <a:lnTo>
                    <a:pt x="4250" y="6215"/>
                  </a:lnTo>
                  <a:lnTo>
                    <a:pt x="4258" y="6236"/>
                  </a:lnTo>
                  <a:lnTo>
                    <a:pt x="4264" y="6253"/>
                  </a:lnTo>
                  <a:lnTo>
                    <a:pt x="4268" y="6267"/>
                  </a:lnTo>
                  <a:lnTo>
                    <a:pt x="4272" y="6279"/>
                  </a:lnTo>
                  <a:lnTo>
                    <a:pt x="4275" y="6287"/>
                  </a:lnTo>
                  <a:lnTo>
                    <a:pt x="4276" y="6293"/>
                  </a:lnTo>
                  <a:lnTo>
                    <a:pt x="4276" y="6294"/>
                  </a:lnTo>
                  <a:lnTo>
                    <a:pt x="3902" y="6856"/>
                  </a:lnTo>
                  <a:lnTo>
                    <a:pt x="3902" y="6856"/>
                  </a:lnTo>
                  <a:lnTo>
                    <a:pt x="3904" y="6858"/>
                  </a:lnTo>
                  <a:lnTo>
                    <a:pt x="3906" y="6861"/>
                  </a:lnTo>
                  <a:lnTo>
                    <a:pt x="3909" y="6865"/>
                  </a:lnTo>
                  <a:lnTo>
                    <a:pt x="3914" y="6870"/>
                  </a:lnTo>
                  <a:lnTo>
                    <a:pt x="3919" y="6877"/>
                  </a:lnTo>
                  <a:lnTo>
                    <a:pt x="3926" y="6884"/>
                  </a:lnTo>
                  <a:lnTo>
                    <a:pt x="3932" y="6893"/>
                  </a:lnTo>
                  <a:lnTo>
                    <a:pt x="3948" y="6912"/>
                  </a:lnTo>
                  <a:lnTo>
                    <a:pt x="3968" y="6936"/>
                  </a:lnTo>
                  <a:lnTo>
                    <a:pt x="3992" y="6963"/>
                  </a:lnTo>
                  <a:lnTo>
                    <a:pt x="4017" y="6993"/>
                  </a:lnTo>
                  <a:lnTo>
                    <a:pt x="4045" y="7025"/>
                  </a:lnTo>
                  <a:lnTo>
                    <a:pt x="4077" y="7059"/>
                  </a:lnTo>
                  <a:lnTo>
                    <a:pt x="4110" y="7095"/>
                  </a:lnTo>
                  <a:lnTo>
                    <a:pt x="4147" y="7133"/>
                  </a:lnTo>
                  <a:lnTo>
                    <a:pt x="4185" y="7173"/>
                  </a:lnTo>
                  <a:lnTo>
                    <a:pt x="4225" y="7213"/>
                  </a:lnTo>
                  <a:lnTo>
                    <a:pt x="4267" y="7254"/>
                  </a:lnTo>
                  <a:lnTo>
                    <a:pt x="4311" y="7295"/>
                  </a:lnTo>
                  <a:lnTo>
                    <a:pt x="4356" y="7338"/>
                  </a:lnTo>
                  <a:lnTo>
                    <a:pt x="4403" y="7379"/>
                  </a:lnTo>
                  <a:lnTo>
                    <a:pt x="4451" y="7419"/>
                  </a:lnTo>
                  <a:lnTo>
                    <a:pt x="4500" y="7459"/>
                  </a:lnTo>
                  <a:lnTo>
                    <a:pt x="4550" y="7498"/>
                  </a:lnTo>
                  <a:lnTo>
                    <a:pt x="4601" y="7535"/>
                  </a:lnTo>
                  <a:lnTo>
                    <a:pt x="4652" y="7571"/>
                  </a:lnTo>
                  <a:lnTo>
                    <a:pt x="4704" y="7604"/>
                  </a:lnTo>
                  <a:lnTo>
                    <a:pt x="4756" y="7635"/>
                  </a:lnTo>
                  <a:lnTo>
                    <a:pt x="4808" y="7664"/>
                  </a:lnTo>
                  <a:lnTo>
                    <a:pt x="4861" y="7690"/>
                  </a:lnTo>
                  <a:lnTo>
                    <a:pt x="4912" y="7712"/>
                  </a:lnTo>
                  <a:lnTo>
                    <a:pt x="4965" y="7730"/>
                  </a:lnTo>
                  <a:lnTo>
                    <a:pt x="4991" y="7737"/>
                  </a:lnTo>
                  <a:lnTo>
                    <a:pt x="5017" y="7744"/>
                  </a:lnTo>
                  <a:lnTo>
                    <a:pt x="5042" y="7750"/>
                  </a:lnTo>
                  <a:lnTo>
                    <a:pt x="5067" y="7754"/>
                  </a:lnTo>
                  <a:lnTo>
                    <a:pt x="5092" y="7757"/>
                  </a:lnTo>
                  <a:lnTo>
                    <a:pt x="5117" y="7759"/>
                  </a:lnTo>
                  <a:lnTo>
                    <a:pt x="5163" y="7758"/>
                  </a:lnTo>
                  <a:lnTo>
                    <a:pt x="5210" y="7755"/>
                  </a:lnTo>
                  <a:lnTo>
                    <a:pt x="5256" y="7750"/>
                  </a:lnTo>
                  <a:lnTo>
                    <a:pt x="5302" y="7742"/>
                  </a:lnTo>
                  <a:lnTo>
                    <a:pt x="5347" y="7733"/>
                  </a:lnTo>
                  <a:lnTo>
                    <a:pt x="5393" y="7723"/>
                  </a:lnTo>
                  <a:lnTo>
                    <a:pt x="5437" y="7711"/>
                  </a:lnTo>
                  <a:lnTo>
                    <a:pt x="5482" y="7696"/>
                  </a:lnTo>
                  <a:lnTo>
                    <a:pt x="5527" y="7681"/>
                  </a:lnTo>
                  <a:lnTo>
                    <a:pt x="5571" y="7664"/>
                  </a:lnTo>
                  <a:lnTo>
                    <a:pt x="5616" y="7646"/>
                  </a:lnTo>
                  <a:lnTo>
                    <a:pt x="5660" y="7626"/>
                  </a:lnTo>
                  <a:lnTo>
                    <a:pt x="5704" y="7605"/>
                  </a:lnTo>
                  <a:lnTo>
                    <a:pt x="5749" y="7584"/>
                  </a:lnTo>
                  <a:lnTo>
                    <a:pt x="5838" y="7538"/>
                  </a:lnTo>
                  <a:lnTo>
                    <a:pt x="5927" y="7487"/>
                  </a:lnTo>
                  <a:lnTo>
                    <a:pt x="6017" y="7435"/>
                  </a:lnTo>
                  <a:lnTo>
                    <a:pt x="6108" y="7381"/>
                  </a:lnTo>
                  <a:lnTo>
                    <a:pt x="6200" y="7325"/>
                  </a:lnTo>
                  <a:lnTo>
                    <a:pt x="6293" y="7269"/>
                  </a:lnTo>
                  <a:lnTo>
                    <a:pt x="6388" y="7213"/>
                  </a:lnTo>
                  <a:lnTo>
                    <a:pt x="6484" y="7158"/>
                  </a:lnTo>
                  <a:lnTo>
                    <a:pt x="6582" y="7105"/>
                  </a:lnTo>
                  <a:lnTo>
                    <a:pt x="6618" y="7087"/>
                  </a:lnTo>
                  <a:lnTo>
                    <a:pt x="6653" y="7072"/>
                  </a:lnTo>
                  <a:lnTo>
                    <a:pt x="6690" y="7059"/>
                  </a:lnTo>
                  <a:lnTo>
                    <a:pt x="6727" y="7045"/>
                  </a:lnTo>
                  <a:lnTo>
                    <a:pt x="6764" y="7034"/>
                  </a:lnTo>
                  <a:lnTo>
                    <a:pt x="6803" y="7025"/>
                  </a:lnTo>
                  <a:lnTo>
                    <a:pt x="6840" y="7015"/>
                  </a:lnTo>
                  <a:lnTo>
                    <a:pt x="6878" y="7007"/>
                  </a:lnTo>
                  <a:lnTo>
                    <a:pt x="6916" y="7001"/>
                  </a:lnTo>
                  <a:lnTo>
                    <a:pt x="6954" y="6995"/>
                  </a:lnTo>
                  <a:lnTo>
                    <a:pt x="7029" y="6986"/>
                  </a:lnTo>
                  <a:lnTo>
                    <a:pt x="7103" y="6981"/>
                  </a:lnTo>
                  <a:lnTo>
                    <a:pt x="7174" y="6980"/>
                  </a:lnTo>
                  <a:lnTo>
                    <a:pt x="7237" y="6981"/>
                  </a:lnTo>
                  <a:lnTo>
                    <a:pt x="7298" y="6984"/>
                  </a:lnTo>
                  <a:lnTo>
                    <a:pt x="7356" y="6988"/>
                  </a:lnTo>
                  <a:lnTo>
                    <a:pt x="7411" y="6995"/>
                  </a:lnTo>
                  <a:lnTo>
                    <a:pt x="7463" y="7002"/>
                  </a:lnTo>
                  <a:lnTo>
                    <a:pt x="7512" y="7009"/>
                  </a:lnTo>
                  <a:lnTo>
                    <a:pt x="7557" y="7018"/>
                  </a:lnTo>
                  <a:lnTo>
                    <a:pt x="7599" y="7027"/>
                  </a:lnTo>
                  <a:lnTo>
                    <a:pt x="7618" y="7031"/>
                  </a:lnTo>
                  <a:lnTo>
                    <a:pt x="7636" y="7035"/>
                  </a:lnTo>
                  <a:lnTo>
                    <a:pt x="7653" y="7040"/>
                  </a:lnTo>
                  <a:lnTo>
                    <a:pt x="7669" y="7044"/>
                  </a:lnTo>
                  <a:lnTo>
                    <a:pt x="7684" y="7048"/>
                  </a:lnTo>
                  <a:lnTo>
                    <a:pt x="7698" y="7051"/>
                  </a:lnTo>
                  <a:lnTo>
                    <a:pt x="7710" y="7055"/>
                  </a:lnTo>
                  <a:lnTo>
                    <a:pt x="7721" y="7059"/>
                  </a:lnTo>
                  <a:lnTo>
                    <a:pt x="7732" y="7062"/>
                  </a:lnTo>
                  <a:lnTo>
                    <a:pt x="7741" y="7065"/>
                  </a:lnTo>
                  <a:lnTo>
                    <a:pt x="7748" y="7067"/>
                  </a:lnTo>
                  <a:lnTo>
                    <a:pt x="7754" y="7069"/>
                  </a:lnTo>
                  <a:lnTo>
                    <a:pt x="7760" y="7071"/>
                  </a:lnTo>
                  <a:lnTo>
                    <a:pt x="7763" y="7072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6" y="7073"/>
                  </a:lnTo>
                  <a:lnTo>
                    <a:pt x="7767" y="7071"/>
                  </a:lnTo>
                  <a:lnTo>
                    <a:pt x="7768" y="7069"/>
                  </a:lnTo>
                  <a:lnTo>
                    <a:pt x="7769" y="7065"/>
                  </a:lnTo>
                  <a:lnTo>
                    <a:pt x="7772" y="7054"/>
                  </a:lnTo>
                  <a:lnTo>
                    <a:pt x="7775" y="7040"/>
                  </a:lnTo>
                  <a:lnTo>
                    <a:pt x="7780" y="7021"/>
                  </a:lnTo>
                  <a:lnTo>
                    <a:pt x="7786" y="7000"/>
                  </a:lnTo>
                  <a:lnTo>
                    <a:pt x="7794" y="6974"/>
                  </a:lnTo>
                  <a:lnTo>
                    <a:pt x="7801" y="6945"/>
                  </a:lnTo>
                  <a:lnTo>
                    <a:pt x="7809" y="6913"/>
                  </a:lnTo>
                  <a:lnTo>
                    <a:pt x="7817" y="6879"/>
                  </a:lnTo>
                  <a:lnTo>
                    <a:pt x="7827" y="6841"/>
                  </a:lnTo>
                  <a:lnTo>
                    <a:pt x="7837" y="6800"/>
                  </a:lnTo>
                  <a:lnTo>
                    <a:pt x="7847" y="6758"/>
                  </a:lnTo>
                  <a:lnTo>
                    <a:pt x="7858" y="6711"/>
                  </a:lnTo>
                  <a:lnTo>
                    <a:pt x="7868" y="6664"/>
                  </a:lnTo>
                  <a:lnTo>
                    <a:pt x="7879" y="6614"/>
                  </a:lnTo>
                  <a:lnTo>
                    <a:pt x="7890" y="6562"/>
                  </a:lnTo>
                  <a:lnTo>
                    <a:pt x="7901" y="6507"/>
                  </a:lnTo>
                  <a:lnTo>
                    <a:pt x="7912" y="6452"/>
                  </a:lnTo>
                  <a:lnTo>
                    <a:pt x="7923" y="6395"/>
                  </a:lnTo>
                  <a:lnTo>
                    <a:pt x="7933" y="6336"/>
                  </a:lnTo>
                  <a:lnTo>
                    <a:pt x="7943" y="6276"/>
                  </a:lnTo>
                  <a:lnTo>
                    <a:pt x="7954" y="6215"/>
                  </a:lnTo>
                  <a:lnTo>
                    <a:pt x="7963" y="6153"/>
                  </a:lnTo>
                  <a:lnTo>
                    <a:pt x="7981" y="6026"/>
                  </a:lnTo>
                  <a:lnTo>
                    <a:pt x="7996" y="5899"/>
                  </a:lnTo>
                  <a:lnTo>
                    <a:pt x="8007" y="5769"/>
                  </a:lnTo>
                  <a:lnTo>
                    <a:pt x="8012" y="5704"/>
                  </a:lnTo>
                  <a:lnTo>
                    <a:pt x="8016" y="5640"/>
                  </a:lnTo>
                  <a:lnTo>
                    <a:pt x="8017" y="5597"/>
                  </a:lnTo>
                  <a:lnTo>
                    <a:pt x="8017" y="5555"/>
                  </a:lnTo>
                  <a:lnTo>
                    <a:pt x="8017" y="5513"/>
                  </a:lnTo>
                  <a:lnTo>
                    <a:pt x="8016" y="5473"/>
                  </a:lnTo>
                  <a:lnTo>
                    <a:pt x="8012" y="5397"/>
                  </a:lnTo>
                  <a:lnTo>
                    <a:pt x="8004" y="5323"/>
                  </a:lnTo>
                  <a:lnTo>
                    <a:pt x="7996" y="5253"/>
                  </a:lnTo>
                  <a:lnTo>
                    <a:pt x="7986" y="5186"/>
                  </a:lnTo>
                  <a:lnTo>
                    <a:pt x="7972" y="5121"/>
                  </a:lnTo>
                  <a:lnTo>
                    <a:pt x="7959" y="5058"/>
                  </a:lnTo>
                  <a:lnTo>
                    <a:pt x="7943" y="4997"/>
                  </a:lnTo>
                  <a:lnTo>
                    <a:pt x="7927" y="4938"/>
                  </a:lnTo>
                  <a:lnTo>
                    <a:pt x="7892" y="4820"/>
                  </a:lnTo>
                  <a:lnTo>
                    <a:pt x="7855" y="4704"/>
                  </a:lnTo>
                  <a:lnTo>
                    <a:pt x="7835" y="4644"/>
                  </a:lnTo>
                  <a:lnTo>
                    <a:pt x="7817" y="4584"/>
                  </a:lnTo>
                  <a:lnTo>
                    <a:pt x="7799" y="4523"/>
                  </a:lnTo>
                  <a:lnTo>
                    <a:pt x="7781" y="4460"/>
                  </a:lnTo>
                  <a:lnTo>
                    <a:pt x="7765" y="4395"/>
                  </a:lnTo>
                  <a:lnTo>
                    <a:pt x="7750" y="4327"/>
                  </a:lnTo>
                  <a:lnTo>
                    <a:pt x="7736" y="4256"/>
                  </a:lnTo>
                  <a:lnTo>
                    <a:pt x="7723" y="4183"/>
                  </a:lnTo>
                  <a:lnTo>
                    <a:pt x="7713" y="4104"/>
                  </a:lnTo>
                  <a:lnTo>
                    <a:pt x="7709" y="4064"/>
                  </a:lnTo>
                  <a:lnTo>
                    <a:pt x="7705" y="4023"/>
                  </a:lnTo>
                  <a:lnTo>
                    <a:pt x="7701" y="3981"/>
                  </a:lnTo>
                  <a:lnTo>
                    <a:pt x="7698" y="3936"/>
                  </a:lnTo>
                  <a:lnTo>
                    <a:pt x="7696" y="3892"/>
                  </a:lnTo>
                  <a:lnTo>
                    <a:pt x="7695" y="3846"/>
                  </a:lnTo>
                  <a:lnTo>
                    <a:pt x="7694" y="3798"/>
                  </a:lnTo>
                  <a:lnTo>
                    <a:pt x="7694" y="3750"/>
                  </a:lnTo>
                  <a:lnTo>
                    <a:pt x="7694" y="3700"/>
                  </a:lnTo>
                  <a:lnTo>
                    <a:pt x="7695" y="3648"/>
                  </a:lnTo>
                  <a:lnTo>
                    <a:pt x="7697" y="3596"/>
                  </a:lnTo>
                  <a:lnTo>
                    <a:pt x="7700" y="3541"/>
                  </a:lnTo>
                  <a:lnTo>
                    <a:pt x="7703" y="3484"/>
                  </a:lnTo>
                  <a:lnTo>
                    <a:pt x="7708" y="3427"/>
                  </a:lnTo>
                  <a:lnTo>
                    <a:pt x="7713" y="3367"/>
                  </a:lnTo>
                  <a:lnTo>
                    <a:pt x="7719" y="3306"/>
                  </a:lnTo>
                  <a:lnTo>
                    <a:pt x="7727" y="3243"/>
                  </a:lnTo>
                  <a:lnTo>
                    <a:pt x="7735" y="3178"/>
                  </a:lnTo>
                  <a:lnTo>
                    <a:pt x="7715" y="3213"/>
                  </a:lnTo>
                  <a:lnTo>
                    <a:pt x="7695" y="3250"/>
                  </a:lnTo>
                  <a:lnTo>
                    <a:pt x="7675" y="3289"/>
                  </a:lnTo>
                  <a:lnTo>
                    <a:pt x="7655" y="3328"/>
                  </a:lnTo>
                  <a:lnTo>
                    <a:pt x="7637" y="3368"/>
                  </a:lnTo>
                  <a:lnTo>
                    <a:pt x="7618" y="3410"/>
                  </a:lnTo>
                  <a:lnTo>
                    <a:pt x="7601" y="3453"/>
                  </a:lnTo>
                  <a:lnTo>
                    <a:pt x="7584" y="3499"/>
                  </a:lnTo>
                  <a:lnTo>
                    <a:pt x="7568" y="3545"/>
                  </a:lnTo>
                  <a:lnTo>
                    <a:pt x="7552" y="3592"/>
                  </a:lnTo>
                  <a:lnTo>
                    <a:pt x="7538" y="3643"/>
                  </a:lnTo>
                  <a:lnTo>
                    <a:pt x="7524" y="3694"/>
                  </a:lnTo>
                  <a:lnTo>
                    <a:pt x="7512" y="3747"/>
                  </a:lnTo>
                  <a:lnTo>
                    <a:pt x="7501" y="3803"/>
                  </a:lnTo>
                  <a:lnTo>
                    <a:pt x="7490" y="3859"/>
                  </a:lnTo>
                  <a:lnTo>
                    <a:pt x="7482" y="3918"/>
                  </a:lnTo>
                  <a:lnTo>
                    <a:pt x="7475" y="3979"/>
                  </a:lnTo>
                  <a:lnTo>
                    <a:pt x="7469" y="4042"/>
                  </a:lnTo>
                  <a:lnTo>
                    <a:pt x="7464" y="4107"/>
                  </a:lnTo>
                  <a:lnTo>
                    <a:pt x="7461" y="4174"/>
                  </a:lnTo>
                  <a:lnTo>
                    <a:pt x="7460" y="4243"/>
                  </a:lnTo>
                  <a:lnTo>
                    <a:pt x="7461" y="4316"/>
                  </a:lnTo>
                  <a:lnTo>
                    <a:pt x="7463" y="4390"/>
                  </a:lnTo>
                  <a:lnTo>
                    <a:pt x="7467" y="4466"/>
                  </a:lnTo>
                  <a:lnTo>
                    <a:pt x="7474" y="4545"/>
                  </a:lnTo>
                  <a:lnTo>
                    <a:pt x="7482" y="4627"/>
                  </a:lnTo>
                  <a:lnTo>
                    <a:pt x="7493" y="4711"/>
                  </a:lnTo>
                  <a:lnTo>
                    <a:pt x="7506" y="4798"/>
                  </a:lnTo>
                  <a:lnTo>
                    <a:pt x="7520" y="4887"/>
                  </a:lnTo>
                  <a:lnTo>
                    <a:pt x="7538" y="4980"/>
                  </a:lnTo>
                  <a:lnTo>
                    <a:pt x="7557" y="5075"/>
                  </a:lnTo>
                  <a:lnTo>
                    <a:pt x="7579" y="5173"/>
                  </a:lnTo>
                  <a:lnTo>
                    <a:pt x="7592" y="5228"/>
                  </a:lnTo>
                  <a:lnTo>
                    <a:pt x="7603" y="5287"/>
                  </a:lnTo>
                  <a:lnTo>
                    <a:pt x="7611" y="5346"/>
                  </a:lnTo>
                  <a:lnTo>
                    <a:pt x="7616" y="5405"/>
                  </a:lnTo>
                  <a:lnTo>
                    <a:pt x="7619" y="5466"/>
                  </a:lnTo>
                  <a:lnTo>
                    <a:pt x="7620" y="5528"/>
                  </a:lnTo>
                  <a:lnTo>
                    <a:pt x="7619" y="5589"/>
                  </a:lnTo>
                  <a:lnTo>
                    <a:pt x="7616" y="5651"/>
                  </a:lnTo>
                  <a:lnTo>
                    <a:pt x="7611" y="5713"/>
                  </a:lnTo>
                  <a:lnTo>
                    <a:pt x="7605" y="5774"/>
                  </a:lnTo>
                  <a:lnTo>
                    <a:pt x="7598" y="5836"/>
                  </a:lnTo>
                  <a:lnTo>
                    <a:pt x="7588" y="5896"/>
                  </a:lnTo>
                  <a:lnTo>
                    <a:pt x="7579" y="5955"/>
                  </a:lnTo>
                  <a:lnTo>
                    <a:pt x="7568" y="6014"/>
                  </a:lnTo>
                  <a:lnTo>
                    <a:pt x="7556" y="6071"/>
                  </a:lnTo>
                  <a:lnTo>
                    <a:pt x="7544" y="6126"/>
                  </a:lnTo>
                  <a:lnTo>
                    <a:pt x="7531" y="6181"/>
                  </a:lnTo>
                  <a:lnTo>
                    <a:pt x="7519" y="6232"/>
                  </a:lnTo>
                  <a:lnTo>
                    <a:pt x="7506" y="6282"/>
                  </a:lnTo>
                  <a:lnTo>
                    <a:pt x="7492" y="6329"/>
                  </a:lnTo>
                  <a:lnTo>
                    <a:pt x="7480" y="6375"/>
                  </a:lnTo>
                  <a:lnTo>
                    <a:pt x="7467" y="6417"/>
                  </a:lnTo>
                  <a:lnTo>
                    <a:pt x="7455" y="6456"/>
                  </a:lnTo>
                  <a:lnTo>
                    <a:pt x="7444" y="6491"/>
                  </a:lnTo>
                  <a:lnTo>
                    <a:pt x="7432" y="6524"/>
                  </a:lnTo>
                  <a:lnTo>
                    <a:pt x="7423" y="6553"/>
                  </a:lnTo>
                  <a:lnTo>
                    <a:pt x="7414" y="6578"/>
                  </a:lnTo>
                  <a:lnTo>
                    <a:pt x="7411" y="6589"/>
                  </a:lnTo>
                  <a:lnTo>
                    <a:pt x="7407" y="6598"/>
                  </a:lnTo>
                  <a:lnTo>
                    <a:pt x="7403" y="6607"/>
                  </a:lnTo>
                  <a:lnTo>
                    <a:pt x="7400" y="6615"/>
                  </a:lnTo>
                  <a:lnTo>
                    <a:pt x="7398" y="6622"/>
                  </a:lnTo>
                  <a:lnTo>
                    <a:pt x="7396" y="6627"/>
                  </a:lnTo>
                  <a:lnTo>
                    <a:pt x="7394" y="6631"/>
                  </a:lnTo>
                  <a:lnTo>
                    <a:pt x="7393" y="6634"/>
                  </a:lnTo>
                  <a:lnTo>
                    <a:pt x="7393" y="6636"/>
                  </a:lnTo>
                  <a:lnTo>
                    <a:pt x="7392" y="6637"/>
                  </a:lnTo>
                  <a:lnTo>
                    <a:pt x="7391" y="6636"/>
                  </a:lnTo>
                  <a:lnTo>
                    <a:pt x="7388" y="6635"/>
                  </a:lnTo>
                  <a:lnTo>
                    <a:pt x="7383" y="6634"/>
                  </a:lnTo>
                  <a:lnTo>
                    <a:pt x="7376" y="6632"/>
                  </a:lnTo>
                  <a:lnTo>
                    <a:pt x="7366" y="6630"/>
                  </a:lnTo>
                  <a:lnTo>
                    <a:pt x="7355" y="6627"/>
                  </a:lnTo>
                  <a:lnTo>
                    <a:pt x="7342" y="6625"/>
                  </a:lnTo>
                  <a:lnTo>
                    <a:pt x="7326" y="6622"/>
                  </a:lnTo>
                  <a:lnTo>
                    <a:pt x="7310" y="6619"/>
                  </a:lnTo>
                  <a:lnTo>
                    <a:pt x="7291" y="6616"/>
                  </a:lnTo>
                  <a:lnTo>
                    <a:pt x="7270" y="6614"/>
                  </a:lnTo>
                  <a:lnTo>
                    <a:pt x="7248" y="6610"/>
                  </a:lnTo>
                  <a:lnTo>
                    <a:pt x="7224" y="6609"/>
                  </a:lnTo>
                  <a:lnTo>
                    <a:pt x="7199" y="6607"/>
                  </a:lnTo>
                  <a:lnTo>
                    <a:pt x="7171" y="6606"/>
                  </a:lnTo>
                  <a:lnTo>
                    <a:pt x="7143" y="6606"/>
                  </a:lnTo>
                  <a:lnTo>
                    <a:pt x="7125" y="6606"/>
                  </a:lnTo>
                  <a:lnTo>
                    <a:pt x="7105" y="6606"/>
                  </a:lnTo>
                  <a:lnTo>
                    <a:pt x="7084" y="6606"/>
                  </a:lnTo>
                  <a:lnTo>
                    <a:pt x="7063" y="6606"/>
                  </a:lnTo>
                  <a:lnTo>
                    <a:pt x="7039" y="6607"/>
                  </a:lnTo>
                  <a:lnTo>
                    <a:pt x="7015" y="6607"/>
                  </a:lnTo>
                  <a:lnTo>
                    <a:pt x="6964" y="6610"/>
                  </a:lnTo>
                  <a:lnTo>
                    <a:pt x="6910" y="6614"/>
                  </a:lnTo>
                  <a:lnTo>
                    <a:pt x="6854" y="6619"/>
                  </a:lnTo>
                  <a:lnTo>
                    <a:pt x="6796" y="6627"/>
                  </a:lnTo>
                  <a:lnTo>
                    <a:pt x="6738" y="6637"/>
                  </a:lnTo>
                  <a:lnTo>
                    <a:pt x="6693" y="6648"/>
                  </a:lnTo>
                  <a:lnTo>
                    <a:pt x="6648" y="6660"/>
                  </a:lnTo>
                  <a:lnTo>
                    <a:pt x="6600" y="6675"/>
                  </a:lnTo>
                  <a:lnTo>
                    <a:pt x="6552" y="6692"/>
                  </a:lnTo>
                  <a:lnTo>
                    <a:pt x="6503" y="6711"/>
                  </a:lnTo>
                  <a:lnTo>
                    <a:pt x="6453" y="6733"/>
                  </a:lnTo>
                  <a:lnTo>
                    <a:pt x="6402" y="6756"/>
                  </a:lnTo>
                  <a:lnTo>
                    <a:pt x="6351" y="6779"/>
                  </a:lnTo>
                  <a:lnTo>
                    <a:pt x="6299" y="6805"/>
                  </a:lnTo>
                  <a:lnTo>
                    <a:pt x="6246" y="6832"/>
                  </a:lnTo>
                  <a:lnTo>
                    <a:pt x="6141" y="6889"/>
                  </a:lnTo>
                  <a:lnTo>
                    <a:pt x="6036" y="6947"/>
                  </a:lnTo>
                  <a:lnTo>
                    <a:pt x="5931" y="7007"/>
                  </a:lnTo>
                  <a:lnTo>
                    <a:pt x="5829" y="7067"/>
                  </a:lnTo>
                  <a:lnTo>
                    <a:pt x="5729" y="7124"/>
                  </a:lnTo>
                  <a:lnTo>
                    <a:pt x="5681" y="7152"/>
                  </a:lnTo>
                  <a:lnTo>
                    <a:pt x="5633" y="7179"/>
                  </a:lnTo>
                  <a:lnTo>
                    <a:pt x="5587" y="7205"/>
                  </a:lnTo>
                  <a:lnTo>
                    <a:pt x="5541" y="7228"/>
                  </a:lnTo>
                  <a:lnTo>
                    <a:pt x="5498" y="7251"/>
                  </a:lnTo>
                  <a:lnTo>
                    <a:pt x="5455" y="7273"/>
                  </a:lnTo>
                  <a:lnTo>
                    <a:pt x="5415" y="7292"/>
                  </a:lnTo>
                  <a:lnTo>
                    <a:pt x="5377" y="7309"/>
                  </a:lnTo>
                  <a:lnTo>
                    <a:pt x="5340" y="7324"/>
                  </a:lnTo>
                  <a:lnTo>
                    <a:pt x="5305" y="7337"/>
                  </a:lnTo>
                  <a:lnTo>
                    <a:pt x="5273" y="7347"/>
                  </a:lnTo>
                  <a:lnTo>
                    <a:pt x="5242" y="7354"/>
                  </a:lnTo>
                  <a:lnTo>
                    <a:pt x="5180" y="7354"/>
                  </a:lnTo>
                  <a:lnTo>
                    <a:pt x="5142" y="7352"/>
                  </a:lnTo>
                  <a:lnTo>
                    <a:pt x="5105" y="7349"/>
                  </a:lnTo>
                  <a:lnTo>
                    <a:pt x="5066" y="7343"/>
                  </a:lnTo>
                  <a:lnTo>
                    <a:pt x="5030" y="7334"/>
                  </a:lnTo>
                  <a:lnTo>
                    <a:pt x="4993" y="7323"/>
                  </a:lnTo>
                  <a:lnTo>
                    <a:pt x="4957" y="7311"/>
                  </a:lnTo>
                  <a:lnTo>
                    <a:pt x="4922" y="7296"/>
                  </a:lnTo>
                  <a:lnTo>
                    <a:pt x="4887" y="7281"/>
                  </a:lnTo>
                  <a:lnTo>
                    <a:pt x="4853" y="7264"/>
                  </a:lnTo>
                  <a:lnTo>
                    <a:pt x="4820" y="7245"/>
                  </a:lnTo>
                  <a:lnTo>
                    <a:pt x="4755" y="7206"/>
                  </a:lnTo>
                  <a:lnTo>
                    <a:pt x="4725" y="7185"/>
                  </a:lnTo>
                  <a:lnTo>
                    <a:pt x="4695" y="7164"/>
                  </a:lnTo>
                  <a:lnTo>
                    <a:pt x="4666" y="7142"/>
                  </a:lnTo>
                  <a:lnTo>
                    <a:pt x="4638" y="7120"/>
                  </a:lnTo>
                  <a:lnTo>
                    <a:pt x="4611" y="7099"/>
                  </a:lnTo>
                  <a:lnTo>
                    <a:pt x="4586" y="7076"/>
                  </a:lnTo>
                  <a:lnTo>
                    <a:pt x="4563" y="7055"/>
                  </a:lnTo>
                  <a:lnTo>
                    <a:pt x="4540" y="7034"/>
                  </a:lnTo>
                  <a:lnTo>
                    <a:pt x="4519" y="7014"/>
                  </a:lnTo>
                  <a:lnTo>
                    <a:pt x="4500" y="6995"/>
                  </a:lnTo>
                  <a:lnTo>
                    <a:pt x="4481" y="6976"/>
                  </a:lnTo>
                  <a:lnTo>
                    <a:pt x="4465" y="6960"/>
                  </a:lnTo>
                  <a:lnTo>
                    <a:pt x="4450" y="6943"/>
                  </a:lnTo>
                  <a:lnTo>
                    <a:pt x="4438" y="6930"/>
                  </a:lnTo>
                  <a:lnTo>
                    <a:pt x="4426" y="6917"/>
                  </a:lnTo>
                  <a:lnTo>
                    <a:pt x="4417" y="6906"/>
                  </a:lnTo>
                  <a:lnTo>
                    <a:pt x="4410" y="6898"/>
                  </a:lnTo>
                  <a:lnTo>
                    <a:pt x="4405" y="6892"/>
                  </a:lnTo>
                  <a:lnTo>
                    <a:pt x="4401" y="6888"/>
                  </a:lnTo>
                  <a:lnTo>
                    <a:pt x="4400" y="6887"/>
                  </a:lnTo>
                  <a:lnTo>
                    <a:pt x="5242" y="5142"/>
                  </a:lnTo>
                  <a:lnTo>
                    <a:pt x="4525" y="5983"/>
                  </a:lnTo>
                  <a:lnTo>
                    <a:pt x="4524" y="5981"/>
                  </a:lnTo>
                  <a:lnTo>
                    <a:pt x="4522" y="5977"/>
                  </a:lnTo>
                  <a:lnTo>
                    <a:pt x="4518" y="5970"/>
                  </a:lnTo>
                  <a:lnTo>
                    <a:pt x="4513" y="5959"/>
                  </a:lnTo>
                  <a:lnTo>
                    <a:pt x="4506" y="5946"/>
                  </a:lnTo>
                  <a:lnTo>
                    <a:pt x="4497" y="5931"/>
                  </a:lnTo>
                  <a:lnTo>
                    <a:pt x="4487" y="5911"/>
                  </a:lnTo>
                  <a:lnTo>
                    <a:pt x="4475" y="5889"/>
                  </a:lnTo>
                  <a:lnTo>
                    <a:pt x="4460" y="5865"/>
                  </a:lnTo>
                  <a:lnTo>
                    <a:pt x="4445" y="5837"/>
                  </a:lnTo>
                  <a:lnTo>
                    <a:pt x="4426" y="5806"/>
                  </a:lnTo>
                  <a:lnTo>
                    <a:pt x="4407" y="5772"/>
                  </a:lnTo>
                  <a:lnTo>
                    <a:pt x="4385" y="5736"/>
                  </a:lnTo>
                  <a:lnTo>
                    <a:pt x="4361" y="5697"/>
                  </a:lnTo>
                  <a:lnTo>
                    <a:pt x="4335" y="5654"/>
                  </a:lnTo>
                  <a:lnTo>
                    <a:pt x="4307" y="5608"/>
                  </a:lnTo>
                  <a:lnTo>
                    <a:pt x="4276" y="5562"/>
                  </a:lnTo>
                  <a:lnTo>
                    <a:pt x="4241" y="5517"/>
                  </a:lnTo>
                  <a:lnTo>
                    <a:pt x="4205" y="5471"/>
                  </a:lnTo>
                  <a:lnTo>
                    <a:pt x="4168" y="5426"/>
                  </a:lnTo>
                  <a:lnTo>
                    <a:pt x="4091" y="5336"/>
                  </a:lnTo>
                  <a:lnTo>
                    <a:pt x="4053" y="5292"/>
                  </a:lnTo>
                  <a:lnTo>
                    <a:pt x="4014" y="5247"/>
                  </a:lnTo>
                  <a:lnTo>
                    <a:pt x="3979" y="5201"/>
                  </a:lnTo>
                  <a:lnTo>
                    <a:pt x="3946" y="5155"/>
                  </a:lnTo>
                  <a:lnTo>
                    <a:pt x="3916" y="5109"/>
                  </a:lnTo>
                  <a:lnTo>
                    <a:pt x="3903" y="5085"/>
                  </a:lnTo>
                  <a:lnTo>
                    <a:pt x="3890" y="5061"/>
                  </a:lnTo>
                  <a:lnTo>
                    <a:pt x="3879" y="5037"/>
                  </a:lnTo>
                  <a:lnTo>
                    <a:pt x="3870" y="5013"/>
                  </a:lnTo>
                  <a:lnTo>
                    <a:pt x="3861" y="4988"/>
                  </a:lnTo>
                  <a:lnTo>
                    <a:pt x="3853" y="4963"/>
                  </a:lnTo>
                  <a:lnTo>
                    <a:pt x="3847" y="4938"/>
                  </a:lnTo>
                  <a:lnTo>
                    <a:pt x="3843" y="4913"/>
                  </a:lnTo>
                  <a:lnTo>
                    <a:pt x="3841" y="4887"/>
                  </a:lnTo>
                  <a:lnTo>
                    <a:pt x="3840" y="4860"/>
                  </a:lnTo>
                  <a:lnTo>
                    <a:pt x="3841" y="4833"/>
                  </a:lnTo>
                  <a:lnTo>
                    <a:pt x="3846" y="4803"/>
                  </a:lnTo>
                  <a:lnTo>
                    <a:pt x="3853" y="4770"/>
                  </a:lnTo>
                  <a:lnTo>
                    <a:pt x="3864" y="4734"/>
                  </a:lnTo>
                  <a:lnTo>
                    <a:pt x="3877" y="4696"/>
                  </a:lnTo>
                  <a:lnTo>
                    <a:pt x="3893" y="4655"/>
                  </a:lnTo>
                  <a:lnTo>
                    <a:pt x="3910" y="4612"/>
                  </a:lnTo>
                  <a:lnTo>
                    <a:pt x="3931" y="4568"/>
                  </a:lnTo>
                  <a:lnTo>
                    <a:pt x="3954" y="4522"/>
                  </a:lnTo>
                  <a:lnTo>
                    <a:pt x="3979" y="4473"/>
                  </a:lnTo>
                  <a:lnTo>
                    <a:pt x="4007" y="4423"/>
                  </a:lnTo>
                  <a:lnTo>
                    <a:pt x="4037" y="4371"/>
                  </a:lnTo>
                  <a:lnTo>
                    <a:pt x="4068" y="4319"/>
                  </a:lnTo>
                  <a:lnTo>
                    <a:pt x="4102" y="4264"/>
                  </a:lnTo>
                  <a:lnTo>
                    <a:pt x="4137" y="4208"/>
                  </a:lnTo>
                  <a:lnTo>
                    <a:pt x="4174" y="4152"/>
                  </a:lnTo>
                  <a:lnTo>
                    <a:pt x="4214" y="4094"/>
                  </a:lnTo>
                  <a:lnTo>
                    <a:pt x="4254" y="4036"/>
                  </a:lnTo>
                  <a:lnTo>
                    <a:pt x="4295" y="3978"/>
                  </a:lnTo>
                  <a:lnTo>
                    <a:pt x="4339" y="3918"/>
                  </a:lnTo>
                  <a:lnTo>
                    <a:pt x="4383" y="3858"/>
                  </a:lnTo>
                  <a:lnTo>
                    <a:pt x="4428" y="3798"/>
                  </a:lnTo>
                  <a:lnTo>
                    <a:pt x="4476" y="3738"/>
                  </a:lnTo>
                  <a:lnTo>
                    <a:pt x="4523" y="3678"/>
                  </a:lnTo>
                  <a:lnTo>
                    <a:pt x="4621" y="3557"/>
                  </a:lnTo>
                  <a:lnTo>
                    <a:pt x="4723" y="3439"/>
                  </a:lnTo>
                  <a:lnTo>
                    <a:pt x="4826" y="3323"/>
                  </a:lnTo>
                  <a:lnTo>
                    <a:pt x="4877" y="3265"/>
                  </a:lnTo>
                  <a:lnTo>
                    <a:pt x="4930" y="3209"/>
                  </a:lnTo>
                  <a:lnTo>
                    <a:pt x="5030" y="3097"/>
                  </a:lnTo>
                  <a:lnTo>
                    <a:pt x="5129" y="2984"/>
                  </a:lnTo>
                  <a:lnTo>
                    <a:pt x="5229" y="2870"/>
                  </a:lnTo>
                  <a:lnTo>
                    <a:pt x="5329" y="2758"/>
                  </a:lnTo>
                  <a:lnTo>
                    <a:pt x="5426" y="2648"/>
                  </a:lnTo>
                  <a:lnTo>
                    <a:pt x="5522" y="2541"/>
                  </a:lnTo>
                  <a:lnTo>
                    <a:pt x="5568" y="2489"/>
                  </a:lnTo>
                  <a:lnTo>
                    <a:pt x="5614" y="2438"/>
                  </a:lnTo>
                  <a:lnTo>
                    <a:pt x="5661" y="2388"/>
                  </a:lnTo>
                  <a:lnTo>
                    <a:pt x="5705" y="2340"/>
                  </a:lnTo>
                  <a:lnTo>
                    <a:pt x="5750" y="2294"/>
                  </a:lnTo>
                  <a:lnTo>
                    <a:pt x="5793" y="2248"/>
                  </a:lnTo>
                  <a:lnTo>
                    <a:pt x="5835" y="2205"/>
                  </a:lnTo>
                  <a:lnTo>
                    <a:pt x="5877" y="2164"/>
                  </a:lnTo>
                  <a:lnTo>
                    <a:pt x="5917" y="2125"/>
                  </a:lnTo>
                  <a:lnTo>
                    <a:pt x="5956" y="2089"/>
                  </a:lnTo>
                  <a:lnTo>
                    <a:pt x="5993" y="2054"/>
                  </a:lnTo>
                  <a:lnTo>
                    <a:pt x="6030" y="2022"/>
                  </a:lnTo>
                  <a:lnTo>
                    <a:pt x="6066" y="1992"/>
                  </a:lnTo>
                  <a:lnTo>
                    <a:pt x="6100" y="1965"/>
                  </a:lnTo>
                  <a:lnTo>
                    <a:pt x="6132" y="1941"/>
                  </a:lnTo>
                  <a:lnTo>
                    <a:pt x="6163" y="1920"/>
                  </a:lnTo>
                  <a:lnTo>
                    <a:pt x="6193" y="1902"/>
                  </a:lnTo>
                  <a:lnTo>
                    <a:pt x="6220" y="1888"/>
                  </a:lnTo>
                  <a:lnTo>
                    <a:pt x="6246" y="1876"/>
                  </a:lnTo>
                  <a:lnTo>
                    <a:pt x="6270" y="1869"/>
                  </a:lnTo>
                  <a:lnTo>
                    <a:pt x="6863" y="1775"/>
                  </a:lnTo>
                  <a:lnTo>
                    <a:pt x="6919" y="1767"/>
                  </a:lnTo>
                  <a:lnTo>
                    <a:pt x="6975" y="1758"/>
                  </a:lnTo>
                  <a:lnTo>
                    <a:pt x="7029" y="1749"/>
                  </a:lnTo>
                  <a:lnTo>
                    <a:pt x="7080" y="1739"/>
                  </a:lnTo>
                  <a:lnTo>
                    <a:pt x="7130" y="1730"/>
                  </a:lnTo>
                  <a:lnTo>
                    <a:pt x="7177" y="1721"/>
                  </a:lnTo>
                  <a:lnTo>
                    <a:pt x="7223" y="1712"/>
                  </a:lnTo>
                  <a:lnTo>
                    <a:pt x="7266" y="1702"/>
                  </a:lnTo>
                  <a:lnTo>
                    <a:pt x="7309" y="1693"/>
                  </a:lnTo>
                  <a:lnTo>
                    <a:pt x="7348" y="1684"/>
                  </a:lnTo>
                  <a:lnTo>
                    <a:pt x="7386" y="1674"/>
                  </a:lnTo>
                  <a:lnTo>
                    <a:pt x="7422" y="1665"/>
                  </a:lnTo>
                  <a:lnTo>
                    <a:pt x="7456" y="1657"/>
                  </a:lnTo>
                  <a:lnTo>
                    <a:pt x="7489" y="1648"/>
                  </a:lnTo>
                  <a:lnTo>
                    <a:pt x="7519" y="1639"/>
                  </a:lnTo>
                  <a:lnTo>
                    <a:pt x="7548" y="1631"/>
                  </a:lnTo>
                  <a:lnTo>
                    <a:pt x="7575" y="1623"/>
                  </a:lnTo>
                  <a:lnTo>
                    <a:pt x="7600" y="1616"/>
                  </a:lnTo>
                  <a:lnTo>
                    <a:pt x="7623" y="1609"/>
                  </a:lnTo>
                  <a:lnTo>
                    <a:pt x="7645" y="1601"/>
                  </a:lnTo>
                  <a:lnTo>
                    <a:pt x="7665" y="1595"/>
                  </a:lnTo>
                  <a:lnTo>
                    <a:pt x="7682" y="1589"/>
                  </a:lnTo>
                  <a:lnTo>
                    <a:pt x="7698" y="1584"/>
                  </a:lnTo>
                  <a:lnTo>
                    <a:pt x="7712" y="1579"/>
                  </a:lnTo>
                  <a:lnTo>
                    <a:pt x="7726" y="1574"/>
                  </a:lnTo>
                  <a:lnTo>
                    <a:pt x="7736" y="1569"/>
                  </a:lnTo>
                  <a:lnTo>
                    <a:pt x="7745" y="1566"/>
                  </a:lnTo>
                  <a:lnTo>
                    <a:pt x="7752" y="1563"/>
                  </a:lnTo>
                  <a:lnTo>
                    <a:pt x="7759" y="1560"/>
                  </a:lnTo>
                  <a:lnTo>
                    <a:pt x="7763" y="1559"/>
                  </a:lnTo>
                  <a:lnTo>
                    <a:pt x="7765" y="1558"/>
                  </a:lnTo>
                  <a:lnTo>
                    <a:pt x="7766" y="1557"/>
                  </a:lnTo>
                  <a:lnTo>
                    <a:pt x="6769" y="1589"/>
                  </a:lnTo>
                  <a:lnTo>
                    <a:pt x="6771" y="1588"/>
                  </a:lnTo>
                  <a:lnTo>
                    <a:pt x="6774" y="1585"/>
                  </a:lnTo>
                  <a:lnTo>
                    <a:pt x="6777" y="1581"/>
                  </a:lnTo>
                  <a:lnTo>
                    <a:pt x="6781" y="1575"/>
                  </a:lnTo>
                  <a:lnTo>
                    <a:pt x="6786" y="1567"/>
                  </a:lnTo>
                  <a:lnTo>
                    <a:pt x="6792" y="1558"/>
                  </a:lnTo>
                  <a:lnTo>
                    <a:pt x="6800" y="1548"/>
                  </a:lnTo>
                  <a:lnTo>
                    <a:pt x="6807" y="1535"/>
                  </a:lnTo>
                  <a:lnTo>
                    <a:pt x="6816" y="1522"/>
                  </a:lnTo>
                  <a:lnTo>
                    <a:pt x="6825" y="1507"/>
                  </a:lnTo>
                  <a:lnTo>
                    <a:pt x="6836" y="1491"/>
                  </a:lnTo>
                  <a:lnTo>
                    <a:pt x="6847" y="1474"/>
                  </a:lnTo>
                  <a:lnTo>
                    <a:pt x="6860" y="1455"/>
                  </a:lnTo>
                  <a:lnTo>
                    <a:pt x="6874" y="1436"/>
                  </a:lnTo>
                  <a:lnTo>
                    <a:pt x="6888" y="1415"/>
                  </a:lnTo>
                  <a:lnTo>
                    <a:pt x="6904" y="1394"/>
                  </a:lnTo>
                  <a:lnTo>
                    <a:pt x="6920" y="1372"/>
                  </a:lnTo>
                  <a:lnTo>
                    <a:pt x="6938" y="1348"/>
                  </a:lnTo>
                  <a:lnTo>
                    <a:pt x="6958" y="1324"/>
                  </a:lnTo>
                  <a:lnTo>
                    <a:pt x="6977" y="1300"/>
                  </a:lnTo>
                  <a:lnTo>
                    <a:pt x="6999" y="1274"/>
                  </a:lnTo>
                  <a:lnTo>
                    <a:pt x="7020" y="1248"/>
                  </a:lnTo>
                  <a:lnTo>
                    <a:pt x="7044" y="1221"/>
                  </a:lnTo>
                  <a:lnTo>
                    <a:pt x="7069" y="1194"/>
                  </a:lnTo>
                  <a:lnTo>
                    <a:pt x="7095" y="1167"/>
                  </a:lnTo>
                  <a:lnTo>
                    <a:pt x="7122" y="1139"/>
                  </a:lnTo>
                  <a:lnTo>
                    <a:pt x="7150" y="1110"/>
                  </a:lnTo>
                  <a:lnTo>
                    <a:pt x="7179" y="1081"/>
                  </a:lnTo>
                  <a:lnTo>
                    <a:pt x="7210" y="1052"/>
                  </a:lnTo>
                  <a:lnTo>
                    <a:pt x="7242" y="1023"/>
                  </a:lnTo>
                  <a:lnTo>
                    <a:pt x="7275" y="995"/>
                  </a:lnTo>
                  <a:lnTo>
                    <a:pt x="7311" y="966"/>
                  </a:lnTo>
                  <a:lnTo>
                    <a:pt x="7347" y="936"/>
                  </a:lnTo>
                  <a:lnTo>
                    <a:pt x="7384" y="907"/>
                  </a:lnTo>
                  <a:lnTo>
                    <a:pt x="7423" y="878"/>
                  </a:lnTo>
                  <a:lnTo>
                    <a:pt x="7463" y="849"/>
                  </a:lnTo>
                  <a:lnTo>
                    <a:pt x="7505" y="821"/>
                  </a:lnTo>
                  <a:lnTo>
                    <a:pt x="7548" y="792"/>
                  </a:lnTo>
                  <a:lnTo>
                    <a:pt x="7592" y="764"/>
                  </a:lnTo>
                  <a:lnTo>
                    <a:pt x="7639" y="736"/>
                  </a:lnTo>
                  <a:lnTo>
                    <a:pt x="7686" y="709"/>
                  </a:lnTo>
                  <a:lnTo>
                    <a:pt x="7735" y="683"/>
                  </a:lnTo>
                  <a:lnTo>
                    <a:pt x="7785" y="657"/>
                  </a:lnTo>
                  <a:lnTo>
                    <a:pt x="7838" y="631"/>
                  </a:lnTo>
                  <a:lnTo>
                    <a:pt x="7892" y="606"/>
                  </a:lnTo>
                  <a:lnTo>
                    <a:pt x="7946" y="583"/>
                  </a:lnTo>
                  <a:lnTo>
                    <a:pt x="8003" y="559"/>
                  </a:lnTo>
                  <a:lnTo>
                    <a:pt x="8062" y="536"/>
                  </a:lnTo>
                  <a:lnTo>
                    <a:pt x="8122" y="516"/>
                  </a:lnTo>
                  <a:lnTo>
                    <a:pt x="8184" y="495"/>
                  </a:lnTo>
                  <a:lnTo>
                    <a:pt x="8247" y="476"/>
                  </a:lnTo>
                  <a:lnTo>
                    <a:pt x="8312" y="457"/>
                  </a:lnTo>
                  <a:lnTo>
                    <a:pt x="8379" y="439"/>
                  </a:lnTo>
                  <a:lnTo>
                    <a:pt x="8447" y="424"/>
                  </a:lnTo>
                  <a:lnTo>
                    <a:pt x="8517" y="409"/>
                  </a:lnTo>
                  <a:lnTo>
                    <a:pt x="8590" y="395"/>
                  </a:lnTo>
                  <a:lnTo>
                    <a:pt x="8663" y="384"/>
                  </a:lnTo>
                  <a:lnTo>
                    <a:pt x="8739" y="373"/>
                  </a:lnTo>
                  <a:lnTo>
                    <a:pt x="8817" y="363"/>
                  </a:lnTo>
                  <a:lnTo>
                    <a:pt x="8895" y="356"/>
                  </a:lnTo>
                  <a:lnTo>
                    <a:pt x="8977" y="350"/>
                  </a:lnTo>
                  <a:lnTo>
                    <a:pt x="9059" y="346"/>
                  </a:lnTo>
                  <a:lnTo>
                    <a:pt x="9144" y="343"/>
                  </a:lnTo>
                  <a:lnTo>
                    <a:pt x="9231" y="342"/>
                  </a:lnTo>
                  <a:lnTo>
                    <a:pt x="9231" y="342"/>
                  </a:lnTo>
                  <a:close/>
                  <a:moveTo>
                    <a:pt x="13524" y="1924"/>
                  </a:moveTo>
                  <a:lnTo>
                    <a:pt x="13549" y="1924"/>
                  </a:lnTo>
                  <a:lnTo>
                    <a:pt x="13574" y="1921"/>
                  </a:lnTo>
                  <a:lnTo>
                    <a:pt x="13600" y="1918"/>
                  </a:lnTo>
                  <a:lnTo>
                    <a:pt x="13628" y="1912"/>
                  </a:lnTo>
                  <a:lnTo>
                    <a:pt x="13657" y="1905"/>
                  </a:lnTo>
                  <a:lnTo>
                    <a:pt x="13688" y="1896"/>
                  </a:lnTo>
                  <a:lnTo>
                    <a:pt x="13719" y="1886"/>
                  </a:lnTo>
                  <a:lnTo>
                    <a:pt x="13750" y="1873"/>
                  </a:lnTo>
                  <a:lnTo>
                    <a:pt x="13783" y="1860"/>
                  </a:lnTo>
                  <a:lnTo>
                    <a:pt x="13816" y="1843"/>
                  </a:lnTo>
                  <a:lnTo>
                    <a:pt x="13849" y="1826"/>
                  </a:lnTo>
                  <a:lnTo>
                    <a:pt x="13883" y="1806"/>
                  </a:lnTo>
                  <a:lnTo>
                    <a:pt x="13918" y="1785"/>
                  </a:lnTo>
                  <a:lnTo>
                    <a:pt x="13954" y="1760"/>
                  </a:lnTo>
                  <a:lnTo>
                    <a:pt x="13988" y="1734"/>
                  </a:lnTo>
                  <a:lnTo>
                    <a:pt x="14023" y="1706"/>
                  </a:lnTo>
                  <a:lnTo>
                    <a:pt x="14046" y="1688"/>
                  </a:lnTo>
                  <a:lnTo>
                    <a:pt x="14069" y="1669"/>
                  </a:lnTo>
                  <a:lnTo>
                    <a:pt x="14114" y="1628"/>
                  </a:lnTo>
                  <a:lnTo>
                    <a:pt x="14156" y="1585"/>
                  </a:lnTo>
                  <a:lnTo>
                    <a:pt x="14195" y="1539"/>
                  </a:lnTo>
                  <a:lnTo>
                    <a:pt x="14233" y="1490"/>
                  </a:lnTo>
                  <a:lnTo>
                    <a:pt x="14267" y="1442"/>
                  </a:lnTo>
                  <a:lnTo>
                    <a:pt x="14299" y="1392"/>
                  </a:lnTo>
                  <a:lnTo>
                    <a:pt x="14327" y="1344"/>
                  </a:lnTo>
                  <a:lnTo>
                    <a:pt x="14351" y="1296"/>
                  </a:lnTo>
                  <a:lnTo>
                    <a:pt x="14362" y="1273"/>
                  </a:lnTo>
                  <a:lnTo>
                    <a:pt x="14372" y="1250"/>
                  </a:lnTo>
                  <a:lnTo>
                    <a:pt x="14381" y="1228"/>
                  </a:lnTo>
                  <a:lnTo>
                    <a:pt x="14388" y="1207"/>
                  </a:lnTo>
                  <a:lnTo>
                    <a:pt x="14394" y="1187"/>
                  </a:lnTo>
                  <a:lnTo>
                    <a:pt x="14401" y="1167"/>
                  </a:lnTo>
                  <a:lnTo>
                    <a:pt x="14405" y="1148"/>
                  </a:lnTo>
                  <a:lnTo>
                    <a:pt x="14407" y="1131"/>
                  </a:lnTo>
                  <a:lnTo>
                    <a:pt x="14409" y="1114"/>
                  </a:lnTo>
                  <a:lnTo>
                    <a:pt x="14409" y="1099"/>
                  </a:lnTo>
                  <a:lnTo>
                    <a:pt x="14409" y="1085"/>
                  </a:lnTo>
                  <a:lnTo>
                    <a:pt x="14406" y="1072"/>
                  </a:lnTo>
                  <a:lnTo>
                    <a:pt x="14403" y="1062"/>
                  </a:lnTo>
                  <a:lnTo>
                    <a:pt x="14397" y="1051"/>
                  </a:lnTo>
                  <a:lnTo>
                    <a:pt x="14397" y="1050"/>
                  </a:lnTo>
                  <a:lnTo>
                    <a:pt x="14396" y="1047"/>
                  </a:lnTo>
                  <a:lnTo>
                    <a:pt x="14395" y="1042"/>
                  </a:lnTo>
                  <a:lnTo>
                    <a:pt x="14393" y="1036"/>
                  </a:lnTo>
                  <a:lnTo>
                    <a:pt x="14389" y="1031"/>
                  </a:lnTo>
                  <a:lnTo>
                    <a:pt x="14384" y="1026"/>
                  </a:lnTo>
                  <a:lnTo>
                    <a:pt x="14377" y="1022"/>
                  </a:lnTo>
                  <a:lnTo>
                    <a:pt x="14366" y="1020"/>
                  </a:lnTo>
                  <a:lnTo>
                    <a:pt x="14357" y="1021"/>
                  </a:lnTo>
                  <a:lnTo>
                    <a:pt x="14348" y="1025"/>
                  </a:lnTo>
                  <a:lnTo>
                    <a:pt x="14339" y="1030"/>
                  </a:lnTo>
                  <a:lnTo>
                    <a:pt x="14328" y="1036"/>
                  </a:lnTo>
                  <a:lnTo>
                    <a:pt x="14318" y="1044"/>
                  </a:lnTo>
                  <a:lnTo>
                    <a:pt x="14307" y="1053"/>
                  </a:lnTo>
                  <a:lnTo>
                    <a:pt x="14296" y="1065"/>
                  </a:lnTo>
                  <a:lnTo>
                    <a:pt x="14285" y="1077"/>
                  </a:lnTo>
                  <a:lnTo>
                    <a:pt x="14273" y="1090"/>
                  </a:lnTo>
                  <a:lnTo>
                    <a:pt x="14260" y="1105"/>
                  </a:lnTo>
                  <a:lnTo>
                    <a:pt x="14248" y="1120"/>
                  </a:lnTo>
                  <a:lnTo>
                    <a:pt x="14234" y="1137"/>
                  </a:lnTo>
                  <a:lnTo>
                    <a:pt x="14208" y="1173"/>
                  </a:lnTo>
                  <a:lnTo>
                    <a:pt x="14180" y="1211"/>
                  </a:lnTo>
                  <a:lnTo>
                    <a:pt x="14150" y="1252"/>
                  </a:lnTo>
                  <a:lnTo>
                    <a:pt x="14118" y="1293"/>
                  </a:lnTo>
                  <a:lnTo>
                    <a:pt x="14085" y="1335"/>
                  </a:lnTo>
                  <a:lnTo>
                    <a:pt x="14051" y="1376"/>
                  </a:lnTo>
                  <a:lnTo>
                    <a:pt x="14014" y="1415"/>
                  </a:lnTo>
                  <a:lnTo>
                    <a:pt x="13977" y="1453"/>
                  </a:lnTo>
                  <a:lnTo>
                    <a:pt x="13939" y="1488"/>
                  </a:lnTo>
                  <a:lnTo>
                    <a:pt x="13918" y="1505"/>
                  </a:lnTo>
                  <a:lnTo>
                    <a:pt x="13899" y="1519"/>
                  </a:lnTo>
                  <a:lnTo>
                    <a:pt x="13863" y="1548"/>
                  </a:lnTo>
                  <a:lnTo>
                    <a:pt x="13823" y="1575"/>
                  </a:lnTo>
                  <a:lnTo>
                    <a:pt x="13783" y="1600"/>
                  </a:lnTo>
                  <a:lnTo>
                    <a:pt x="13742" y="1624"/>
                  </a:lnTo>
                  <a:lnTo>
                    <a:pt x="13701" y="1646"/>
                  </a:lnTo>
                  <a:lnTo>
                    <a:pt x="13658" y="1666"/>
                  </a:lnTo>
                  <a:lnTo>
                    <a:pt x="13618" y="1685"/>
                  </a:lnTo>
                  <a:lnTo>
                    <a:pt x="13579" y="1702"/>
                  </a:lnTo>
                  <a:lnTo>
                    <a:pt x="13543" y="1718"/>
                  </a:lnTo>
                  <a:lnTo>
                    <a:pt x="13509" y="1731"/>
                  </a:lnTo>
                  <a:lnTo>
                    <a:pt x="13478" y="1742"/>
                  </a:lnTo>
                  <a:lnTo>
                    <a:pt x="13464" y="1747"/>
                  </a:lnTo>
                  <a:lnTo>
                    <a:pt x="13452" y="1752"/>
                  </a:lnTo>
                  <a:lnTo>
                    <a:pt x="13440" y="1756"/>
                  </a:lnTo>
                  <a:lnTo>
                    <a:pt x="13430" y="1759"/>
                  </a:lnTo>
                  <a:lnTo>
                    <a:pt x="13421" y="1762"/>
                  </a:lnTo>
                  <a:lnTo>
                    <a:pt x="13414" y="1764"/>
                  </a:lnTo>
                  <a:lnTo>
                    <a:pt x="13407" y="1766"/>
                  </a:lnTo>
                  <a:lnTo>
                    <a:pt x="13403" y="1767"/>
                  </a:lnTo>
                  <a:lnTo>
                    <a:pt x="13401" y="1768"/>
                  </a:lnTo>
                  <a:lnTo>
                    <a:pt x="13400" y="1768"/>
                  </a:lnTo>
                  <a:lnTo>
                    <a:pt x="13399" y="1768"/>
                  </a:lnTo>
                  <a:lnTo>
                    <a:pt x="13397" y="1768"/>
                  </a:lnTo>
                  <a:lnTo>
                    <a:pt x="13391" y="1770"/>
                  </a:lnTo>
                  <a:lnTo>
                    <a:pt x="13382" y="1773"/>
                  </a:lnTo>
                  <a:lnTo>
                    <a:pt x="13378" y="1776"/>
                  </a:lnTo>
                  <a:lnTo>
                    <a:pt x="13372" y="1781"/>
                  </a:lnTo>
                  <a:lnTo>
                    <a:pt x="13368" y="1785"/>
                  </a:lnTo>
                  <a:lnTo>
                    <a:pt x="13365" y="1791"/>
                  </a:lnTo>
                  <a:lnTo>
                    <a:pt x="13362" y="1799"/>
                  </a:lnTo>
                  <a:lnTo>
                    <a:pt x="13361" y="1808"/>
                  </a:lnTo>
                  <a:lnTo>
                    <a:pt x="13360" y="1819"/>
                  </a:lnTo>
                  <a:lnTo>
                    <a:pt x="13361" y="1831"/>
                  </a:lnTo>
                  <a:lnTo>
                    <a:pt x="13364" y="1845"/>
                  </a:lnTo>
                  <a:lnTo>
                    <a:pt x="13369" y="1862"/>
                  </a:lnTo>
                  <a:lnTo>
                    <a:pt x="13381" y="1873"/>
                  </a:lnTo>
                  <a:lnTo>
                    <a:pt x="13393" y="1885"/>
                  </a:lnTo>
                  <a:lnTo>
                    <a:pt x="13407" y="1895"/>
                  </a:lnTo>
                  <a:lnTo>
                    <a:pt x="13423" y="1905"/>
                  </a:lnTo>
                  <a:lnTo>
                    <a:pt x="13443" y="1912"/>
                  </a:lnTo>
                  <a:lnTo>
                    <a:pt x="13453" y="1916"/>
                  </a:lnTo>
                  <a:lnTo>
                    <a:pt x="13465" y="1919"/>
                  </a:lnTo>
                  <a:lnTo>
                    <a:pt x="13478" y="1921"/>
                  </a:lnTo>
                  <a:lnTo>
                    <a:pt x="13492" y="1923"/>
                  </a:lnTo>
                  <a:lnTo>
                    <a:pt x="13508" y="1924"/>
                  </a:lnTo>
                  <a:lnTo>
                    <a:pt x="13524" y="1924"/>
                  </a:lnTo>
                  <a:lnTo>
                    <a:pt x="13524" y="1924"/>
                  </a:lnTo>
                  <a:close/>
                  <a:moveTo>
                    <a:pt x="8857" y="3146"/>
                  </a:moveTo>
                  <a:lnTo>
                    <a:pt x="8858" y="3145"/>
                  </a:lnTo>
                  <a:lnTo>
                    <a:pt x="8860" y="3140"/>
                  </a:lnTo>
                  <a:lnTo>
                    <a:pt x="8864" y="3133"/>
                  </a:lnTo>
                  <a:lnTo>
                    <a:pt x="8869" y="3123"/>
                  </a:lnTo>
                  <a:lnTo>
                    <a:pt x="8877" y="3109"/>
                  </a:lnTo>
                  <a:lnTo>
                    <a:pt x="8885" y="3094"/>
                  </a:lnTo>
                  <a:lnTo>
                    <a:pt x="8893" y="3076"/>
                  </a:lnTo>
                  <a:lnTo>
                    <a:pt x="8904" y="3057"/>
                  </a:lnTo>
                  <a:lnTo>
                    <a:pt x="8916" y="3035"/>
                  </a:lnTo>
                  <a:lnTo>
                    <a:pt x="8928" y="3011"/>
                  </a:lnTo>
                  <a:lnTo>
                    <a:pt x="8942" y="2987"/>
                  </a:lnTo>
                  <a:lnTo>
                    <a:pt x="8956" y="2961"/>
                  </a:lnTo>
                  <a:lnTo>
                    <a:pt x="8971" y="2934"/>
                  </a:lnTo>
                  <a:lnTo>
                    <a:pt x="8987" y="2905"/>
                  </a:lnTo>
                  <a:lnTo>
                    <a:pt x="9021" y="2847"/>
                  </a:lnTo>
                  <a:lnTo>
                    <a:pt x="9057" y="2786"/>
                  </a:lnTo>
                  <a:lnTo>
                    <a:pt x="9094" y="2725"/>
                  </a:lnTo>
                  <a:lnTo>
                    <a:pt x="9134" y="2665"/>
                  </a:lnTo>
                  <a:lnTo>
                    <a:pt x="9173" y="2608"/>
                  </a:lnTo>
                  <a:lnTo>
                    <a:pt x="9192" y="2580"/>
                  </a:lnTo>
                  <a:lnTo>
                    <a:pt x="9212" y="2554"/>
                  </a:lnTo>
                  <a:lnTo>
                    <a:pt x="9232" y="2529"/>
                  </a:lnTo>
                  <a:lnTo>
                    <a:pt x="9250" y="2506"/>
                  </a:lnTo>
                  <a:lnTo>
                    <a:pt x="9270" y="2483"/>
                  </a:lnTo>
                  <a:lnTo>
                    <a:pt x="9288" y="2464"/>
                  </a:lnTo>
                  <a:lnTo>
                    <a:pt x="9307" y="2446"/>
                  </a:lnTo>
                  <a:lnTo>
                    <a:pt x="9325" y="2430"/>
                  </a:lnTo>
                  <a:lnTo>
                    <a:pt x="9345" y="2413"/>
                  </a:lnTo>
                  <a:lnTo>
                    <a:pt x="9367" y="2397"/>
                  </a:lnTo>
                  <a:lnTo>
                    <a:pt x="9412" y="2368"/>
                  </a:lnTo>
                  <a:lnTo>
                    <a:pt x="9460" y="2343"/>
                  </a:lnTo>
                  <a:lnTo>
                    <a:pt x="9509" y="2321"/>
                  </a:lnTo>
                  <a:lnTo>
                    <a:pt x="9559" y="2304"/>
                  </a:lnTo>
                  <a:lnTo>
                    <a:pt x="9607" y="2288"/>
                  </a:lnTo>
                  <a:lnTo>
                    <a:pt x="9656" y="2276"/>
                  </a:lnTo>
                  <a:lnTo>
                    <a:pt x="9702" y="2266"/>
                  </a:lnTo>
                  <a:lnTo>
                    <a:pt x="9747" y="2259"/>
                  </a:lnTo>
                  <a:lnTo>
                    <a:pt x="9787" y="2252"/>
                  </a:lnTo>
                  <a:lnTo>
                    <a:pt x="9806" y="2250"/>
                  </a:lnTo>
                  <a:lnTo>
                    <a:pt x="9823" y="2248"/>
                  </a:lnTo>
                  <a:lnTo>
                    <a:pt x="9840" y="2247"/>
                  </a:lnTo>
                  <a:lnTo>
                    <a:pt x="9855" y="2246"/>
                  </a:lnTo>
                  <a:lnTo>
                    <a:pt x="9869" y="2245"/>
                  </a:lnTo>
                  <a:lnTo>
                    <a:pt x="9881" y="2244"/>
                  </a:lnTo>
                  <a:lnTo>
                    <a:pt x="9891" y="2243"/>
                  </a:lnTo>
                  <a:lnTo>
                    <a:pt x="9901" y="2243"/>
                  </a:lnTo>
                  <a:lnTo>
                    <a:pt x="9908" y="2243"/>
                  </a:lnTo>
                  <a:lnTo>
                    <a:pt x="9913" y="2243"/>
                  </a:lnTo>
                  <a:lnTo>
                    <a:pt x="9916" y="2243"/>
                  </a:lnTo>
                  <a:lnTo>
                    <a:pt x="9917" y="2243"/>
                  </a:lnTo>
                  <a:lnTo>
                    <a:pt x="9916" y="2243"/>
                  </a:lnTo>
                  <a:lnTo>
                    <a:pt x="9913" y="2242"/>
                  </a:lnTo>
                  <a:lnTo>
                    <a:pt x="9909" y="2241"/>
                  </a:lnTo>
                  <a:lnTo>
                    <a:pt x="9903" y="2239"/>
                  </a:lnTo>
                  <a:lnTo>
                    <a:pt x="9895" y="2237"/>
                  </a:lnTo>
                  <a:lnTo>
                    <a:pt x="9886" y="2234"/>
                  </a:lnTo>
                  <a:lnTo>
                    <a:pt x="9876" y="2232"/>
                  </a:lnTo>
                  <a:lnTo>
                    <a:pt x="9865" y="2229"/>
                  </a:lnTo>
                  <a:lnTo>
                    <a:pt x="9851" y="2225"/>
                  </a:lnTo>
                  <a:lnTo>
                    <a:pt x="9837" y="2221"/>
                  </a:lnTo>
                  <a:lnTo>
                    <a:pt x="9821" y="2217"/>
                  </a:lnTo>
                  <a:lnTo>
                    <a:pt x="9805" y="2213"/>
                  </a:lnTo>
                  <a:lnTo>
                    <a:pt x="9770" y="2205"/>
                  </a:lnTo>
                  <a:lnTo>
                    <a:pt x="9730" y="2197"/>
                  </a:lnTo>
                  <a:lnTo>
                    <a:pt x="9688" y="2187"/>
                  </a:lnTo>
                  <a:lnTo>
                    <a:pt x="9643" y="2179"/>
                  </a:lnTo>
                  <a:lnTo>
                    <a:pt x="9596" y="2171"/>
                  </a:lnTo>
                  <a:lnTo>
                    <a:pt x="9549" y="2164"/>
                  </a:lnTo>
                  <a:lnTo>
                    <a:pt x="9500" y="2159"/>
                  </a:lnTo>
                  <a:lnTo>
                    <a:pt x="9452" y="2153"/>
                  </a:lnTo>
                  <a:lnTo>
                    <a:pt x="9403" y="2150"/>
                  </a:lnTo>
                  <a:lnTo>
                    <a:pt x="9356" y="2149"/>
                  </a:lnTo>
                  <a:lnTo>
                    <a:pt x="9320" y="2149"/>
                  </a:lnTo>
                  <a:lnTo>
                    <a:pt x="9286" y="2150"/>
                  </a:lnTo>
                  <a:lnTo>
                    <a:pt x="9252" y="2152"/>
                  </a:lnTo>
                  <a:lnTo>
                    <a:pt x="9219" y="2158"/>
                  </a:lnTo>
                  <a:lnTo>
                    <a:pt x="9188" y="2165"/>
                  </a:lnTo>
                  <a:lnTo>
                    <a:pt x="9173" y="2170"/>
                  </a:lnTo>
                  <a:lnTo>
                    <a:pt x="9158" y="2176"/>
                  </a:lnTo>
                  <a:lnTo>
                    <a:pt x="9145" y="2183"/>
                  </a:lnTo>
                  <a:lnTo>
                    <a:pt x="9132" y="2192"/>
                  </a:lnTo>
                  <a:lnTo>
                    <a:pt x="9118" y="2201"/>
                  </a:lnTo>
                  <a:lnTo>
                    <a:pt x="9107" y="2212"/>
                  </a:lnTo>
                  <a:lnTo>
                    <a:pt x="9100" y="2217"/>
                  </a:lnTo>
                  <a:lnTo>
                    <a:pt x="9092" y="2222"/>
                  </a:lnTo>
                  <a:lnTo>
                    <a:pt x="9078" y="2238"/>
                  </a:lnTo>
                  <a:lnTo>
                    <a:pt x="9064" y="2256"/>
                  </a:lnTo>
                  <a:lnTo>
                    <a:pt x="9051" y="2279"/>
                  </a:lnTo>
                  <a:lnTo>
                    <a:pt x="9039" y="2305"/>
                  </a:lnTo>
                  <a:lnTo>
                    <a:pt x="9025" y="2333"/>
                  </a:lnTo>
                  <a:lnTo>
                    <a:pt x="9014" y="2364"/>
                  </a:lnTo>
                  <a:lnTo>
                    <a:pt x="9002" y="2398"/>
                  </a:lnTo>
                  <a:lnTo>
                    <a:pt x="8990" y="2433"/>
                  </a:lnTo>
                  <a:lnTo>
                    <a:pt x="8980" y="2470"/>
                  </a:lnTo>
                  <a:lnTo>
                    <a:pt x="8970" y="2509"/>
                  </a:lnTo>
                  <a:lnTo>
                    <a:pt x="8959" y="2549"/>
                  </a:lnTo>
                  <a:lnTo>
                    <a:pt x="8941" y="2630"/>
                  </a:lnTo>
                  <a:lnTo>
                    <a:pt x="8923" y="2714"/>
                  </a:lnTo>
                  <a:lnTo>
                    <a:pt x="8909" y="2796"/>
                  </a:lnTo>
                  <a:lnTo>
                    <a:pt x="8901" y="2836"/>
                  </a:lnTo>
                  <a:lnTo>
                    <a:pt x="8895" y="2876"/>
                  </a:lnTo>
                  <a:lnTo>
                    <a:pt x="8889" y="2913"/>
                  </a:lnTo>
                  <a:lnTo>
                    <a:pt x="8884" y="2949"/>
                  </a:lnTo>
                  <a:lnTo>
                    <a:pt x="8879" y="2983"/>
                  </a:lnTo>
                  <a:lnTo>
                    <a:pt x="8875" y="3014"/>
                  </a:lnTo>
                  <a:lnTo>
                    <a:pt x="8870" y="3042"/>
                  </a:lnTo>
                  <a:lnTo>
                    <a:pt x="8867" y="3068"/>
                  </a:lnTo>
                  <a:lnTo>
                    <a:pt x="8864" y="3091"/>
                  </a:lnTo>
                  <a:lnTo>
                    <a:pt x="8861" y="3110"/>
                  </a:lnTo>
                  <a:lnTo>
                    <a:pt x="8860" y="3126"/>
                  </a:lnTo>
                  <a:lnTo>
                    <a:pt x="8859" y="3132"/>
                  </a:lnTo>
                  <a:lnTo>
                    <a:pt x="8858" y="3137"/>
                  </a:lnTo>
                  <a:lnTo>
                    <a:pt x="8858" y="3141"/>
                  </a:lnTo>
                  <a:lnTo>
                    <a:pt x="8858" y="3144"/>
                  </a:lnTo>
                  <a:lnTo>
                    <a:pt x="8857" y="3146"/>
                  </a:lnTo>
                  <a:lnTo>
                    <a:pt x="8857" y="3146"/>
                  </a:lnTo>
                  <a:lnTo>
                    <a:pt x="8857" y="3146"/>
                  </a:lnTo>
                  <a:close/>
                  <a:moveTo>
                    <a:pt x="9387" y="3926"/>
                  </a:moveTo>
                  <a:lnTo>
                    <a:pt x="9389" y="3924"/>
                  </a:lnTo>
                  <a:lnTo>
                    <a:pt x="9393" y="3920"/>
                  </a:lnTo>
                  <a:lnTo>
                    <a:pt x="9399" y="3914"/>
                  </a:lnTo>
                  <a:lnTo>
                    <a:pt x="9407" y="3906"/>
                  </a:lnTo>
                  <a:lnTo>
                    <a:pt x="9418" y="3895"/>
                  </a:lnTo>
                  <a:lnTo>
                    <a:pt x="9430" y="3883"/>
                  </a:lnTo>
                  <a:lnTo>
                    <a:pt x="9443" y="3870"/>
                  </a:lnTo>
                  <a:lnTo>
                    <a:pt x="9457" y="3856"/>
                  </a:lnTo>
                  <a:lnTo>
                    <a:pt x="9488" y="3825"/>
                  </a:lnTo>
                  <a:lnTo>
                    <a:pt x="9519" y="3794"/>
                  </a:lnTo>
                  <a:lnTo>
                    <a:pt x="9548" y="3764"/>
                  </a:lnTo>
                  <a:lnTo>
                    <a:pt x="9561" y="3751"/>
                  </a:lnTo>
                  <a:lnTo>
                    <a:pt x="9573" y="3739"/>
                  </a:lnTo>
                  <a:lnTo>
                    <a:pt x="9597" y="3717"/>
                  </a:lnTo>
                  <a:lnTo>
                    <a:pt x="9620" y="3699"/>
                  </a:lnTo>
                  <a:lnTo>
                    <a:pt x="9641" y="3682"/>
                  </a:lnTo>
                  <a:lnTo>
                    <a:pt x="9659" y="3669"/>
                  </a:lnTo>
                  <a:lnTo>
                    <a:pt x="9676" y="3658"/>
                  </a:lnTo>
                  <a:lnTo>
                    <a:pt x="9682" y="3654"/>
                  </a:lnTo>
                  <a:lnTo>
                    <a:pt x="9688" y="3651"/>
                  </a:lnTo>
                  <a:lnTo>
                    <a:pt x="9692" y="3648"/>
                  </a:lnTo>
                  <a:lnTo>
                    <a:pt x="9696" y="3647"/>
                  </a:lnTo>
                  <a:lnTo>
                    <a:pt x="9698" y="3646"/>
                  </a:lnTo>
                  <a:lnTo>
                    <a:pt x="9698" y="3645"/>
                  </a:lnTo>
                  <a:lnTo>
                    <a:pt x="9699" y="3652"/>
                  </a:lnTo>
                  <a:lnTo>
                    <a:pt x="9700" y="3659"/>
                  </a:lnTo>
                  <a:lnTo>
                    <a:pt x="9702" y="3669"/>
                  </a:lnTo>
                  <a:lnTo>
                    <a:pt x="9705" y="3679"/>
                  </a:lnTo>
                  <a:lnTo>
                    <a:pt x="9714" y="3702"/>
                  </a:lnTo>
                  <a:lnTo>
                    <a:pt x="9719" y="3714"/>
                  </a:lnTo>
                  <a:lnTo>
                    <a:pt x="9726" y="3727"/>
                  </a:lnTo>
                  <a:lnTo>
                    <a:pt x="9733" y="3741"/>
                  </a:lnTo>
                  <a:lnTo>
                    <a:pt x="9743" y="3754"/>
                  </a:lnTo>
                  <a:lnTo>
                    <a:pt x="9753" y="3768"/>
                  </a:lnTo>
                  <a:lnTo>
                    <a:pt x="9764" y="3781"/>
                  </a:lnTo>
                  <a:lnTo>
                    <a:pt x="9777" y="3794"/>
                  </a:lnTo>
                  <a:lnTo>
                    <a:pt x="9791" y="3808"/>
                  </a:lnTo>
                  <a:lnTo>
                    <a:pt x="9807" y="3820"/>
                  </a:lnTo>
                  <a:lnTo>
                    <a:pt x="9823" y="3832"/>
                  </a:lnTo>
                  <a:lnTo>
                    <a:pt x="9846" y="3854"/>
                  </a:lnTo>
                  <a:lnTo>
                    <a:pt x="9869" y="3875"/>
                  </a:lnTo>
                  <a:lnTo>
                    <a:pt x="9889" y="3893"/>
                  </a:lnTo>
                  <a:lnTo>
                    <a:pt x="9910" y="3910"/>
                  </a:lnTo>
                  <a:lnTo>
                    <a:pt x="9929" y="3924"/>
                  </a:lnTo>
                  <a:lnTo>
                    <a:pt x="9947" y="3936"/>
                  </a:lnTo>
                  <a:lnTo>
                    <a:pt x="9964" y="3948"/>
                  </a:lnTo>
                  <a:lnTo>
                    <a:pt x="9979" y="3957"/>
                  </a:lnTo>
                  <a:lnTo>
                    <a:pt x="9993" y="3965"/>
                  </a:lnTo>
                  <a:lnTo>
                    <a:pt x="10005" y="3971"/>
                  </a:lnTo>
                  <a:lnTo>
                    <a:pt x="10016" y="3978"/>
                  </a:lnTo>
                  <a:lnTo>
                    <a:pt x="10025" y="3982"/>
                  </a:lnTo>
                  <a:lnTo>
                    <a:pt x="10032" y="3985"/>
                  </a:lnTo>
                  <a:lnTo>
                    <a:pt x="10037" y="3987"/>
                  </a:lnTo>
                  <a:lnTo>
                    <a:pt x="10040" y="3988"/>
                  </a:lnTo>
                  <a:lnTo>
                    <a:pt x="10041" y="3988"/>
                  </a:lnTo>
                  <a:lnTo>
                    <a:pt x="10040" y="3989"/>
                  </a:lnTo>
                  <a:lnTo>
                    <a:pt x="10037" y="3992"/>
                  </a:lnTo>
                  <a:lnTo>
                    <a:pt x="10033" y="3997"/>
                  </a:lnTo>
                  <a:lnTo>
                    <a:pt x="10027" y="4004"/>
                  </a:lnTo>
                  <a:lnTo>
                    <a:pt x="10018" y="4013"/>
                  </a:lnTo>
                  <a:lnTo>
                    <a:pt x="10010" y="4023"/>
                  </a:lnTo>
                  <a:lnTo>
                    <a:pt x="10001" y="4034"/>
                  </a:lnTo>
                  <a:lnTo>
                    <a:pt x="9990" y="4047"/>
                  </a:lnTo>
                  <a:lnTo>
                    <a:pt x="9980" y="4060"/>
                  </a:lnTo>
                  <a:lnTo>
                    <a:pt x="9970" y="4074"/>
                  </a:lnTo>
                  <a:lnTo>
                    <a:pt x="9949" y="4106"/>
                  </a:lnTo>
                  <a:lnTo>
                    <a:pt x="9932" y="4140"/>
                  </a:lnTo>
                  <a:lnTo>
                    <a:pt x="9923" y="4158"/>
                  </a:lnTo>
                  <a:lnTo>
                    <a:pt x="9917" y="4175"/>
                  </a:lnTo>
                  <a:lnTo>
                    <a:pt x="9895" y="4211"/>
                  </a:lnTo>
                  <a:lnTo>
                    <a:pt x="9876" y="4249"/>
                  </a:lnTo>
                  <a:lnTo>
                    <a:pt x="9859" y="4286"/>
                  </a:lnTo>
                  <a:lnTo>
                    <a:pt x="9853" y="4303"/>
                  </a:lnTo>
                  <a:lnTo>
                    <a:pt x="9847" y="4320"/>
                  </a:lnTo>
                  <a:lnTo>
                    <a:pt x="9841" y="4335"/>
                  </a:lnTo>
                  <a:lnTo>
                    <a:pt x="9837" y="4350"/>
                  </a:lnTo>
                  <a:lnTo>
                    <a:pt x="9833" y="4362"/>
                  </a:lnTo>
                  <a:lnTo>
                    <a:pt x="9828" y="4372"/>
                  </a:lnTo>
                  <a:lnTo>
                    <a:pt x="9826" y="4381"/>
                  </a:lnTo>
                  <a:lnTo>
                    <a:pt x="9824" y="4388"/>
                  </a:lnTo>
                  <a:lnTo>
                    <a:pt x="9823" y="4392"/>
                  </a:lnTo>
                  <a:lnTo>
                    <a:pt x="9823" y="4394"/>
                  </a:lnTo>
                  <a:lnTo>
                    <a:pt x="9823" y="4393"/>
                  </a:lnTo>
                  <a:lnTo>
                    <a:pt x="9826" y="4391"/>
                  </a:lnTo>
                  <a:lnTo>
                    <a:pt x="9829" y="4387"/>
                  </a:lnTo>
                  <a:lnTo>
                    <a:pt x="9835" y="4381"/>
                  </a:lnTo>
                  <a:lnTo>
                    <a:pt x="9841" y="4374"/>
                  </a:lnTo>
                  <a:lnTo>
                    <a:pt x="9848" y="4366"/>
                  </a:lnTo>
                  <a:lnTo>
                    <a:pt x="9856" y="4357"/>
                  </a:lnTo>
                  <a:lnTo>
                    <a:pt x="9867" y="4346"/>
                  </a:lnTo>
                  <a:lnTo>
                    <a:pt x="9877" y="4335"/>
                  </a:lnTo>
                  <a:lnTo>
                    <a:pt x="9889" y="4322"/>
                  </a:lnTo>
                  <a:lnTo>
                    <a:pt x="9903" y="4308"/>
                  </a:lnTo>
                  <a:lnTo>
                    <a:pt x="9917" y="4293"/>
                  </a:lnTo>
                  <a:lnTo>
                    <a:pt x="9948" y="4261"/>
                  </a:lnTo>
                  <a:lnTo>
                    <a:pt x="9983" y="4226"/>
                  </a:lnTo>
                  <a:lnTo>
                    <a:pt x="10021" y="4188"/>
                  </a:lnTo>
                  <a:lnTo>
                    <a:pt x="10062" y="4149"/>
                  </a:lnTo>
                  <a:lnTo>
                    <a:pt x="10106" y="4107"/>
                  </a:lnTo>
                  <a:lnTo>
                    <a:pt x="10153" y="4064"/>
                  </a:lnTo>
                  <a:lnTo>
                    <a:pt x="10200" y="4022"/>
                  </a:lnTo>
                  <a:lnTo>
                    <a:pt x="10250" y="3979"/>
                  </a:lnTo>
                  <a:lnTo>
                    <a:pt x="10301" y="3936"/>
                  </a:lnTo>
                  <a:lnTo>
                    <a:pt x="10353" y="3894"/>
                  </a:lnTo>
                  <a:lnTo>
                    <a:pt x="10429" y="3838"/>
                  </a:lnTo>
                  <a:lnTo>
                    <a:pt x="10505" y="3785"/>
                  </a:lnTo>
                  <a:lnTo>
                    <a:pt x="10578" y="3736"/>
                  </a:lnTo>
                  <a:lnTo>
                    <a:pt x="10651" y="3690"/>
                  </a:lnTo>
                  <a:lnTo>
                    <a:pt x="10720" y="3648"/>
                  </a:lnTo>
                  <a:lnTo>
                    <a:pt x="10787" y="3610"/>
                  </a:lnTo>
                  <a:lnTo>
                    <a:pt x="10819" y="3592"/>
                  </a:lnTo>
                  <a:lnTo>
                    <a:pt x="10851" y="3575"/>
                  </a:lnTo>
                  <a:lnTo>
                    <a:pt x="10881" y="3559"/>
                  </a:lnTo>
                  <a:lnTo>
                    <a:pt x="10910" y="3544"/>
                  </a:lnTo>
                  <a:lnTo>
                    <a:pt x="10938" y="3530"/>
                  </a:lnTo>
                  <a:lnTo>
                    <a:pt x="10965" y="3517"/>
                  </a:lnTo>
                  <a:lnTo>
                    <a:pt x="10990" y="3505"/>
                  </a:lnTo>
                  <a:lnTo>
                    <a:pt x="11014" y="3494"/>
                  </a:lnTo>
                  <a:lnTo>
                    <a:pt x="11036" y="3482"/>
                  </a:lnTo>
                  <a:lnTo>
                    <a:pt x="11057" y="3473"/>
                  </a:lnTo>
                  <a:lnTo>
                    <a:pt x="11076" y="3465"/>
                  </a:lnTo>
                  <a:lnTo>
                    <a:pt x="11094" y="3456"/>
                  </a:lnTo>
                  <a:lnTo>
                    <a:pt x="11110" y="3449"/>
                  </a:lnTo>
                  <a:lnTo>
                    <a:pt x="11123" y="3444"/>
                  </a:lnTo>
                  <a:lnTo>
                    <a:pt x="11135" y="3439"/>
                  </a:lnTo>
                  <a:lnTo>
                    <a:pt x="11146" y="3435"/>
                  </a:lnTo>
                  <a:lnTo>
                    <a:pt x="11153" y="3432"/>
                  </a:lnTo>
                  <a:lnTo>
                    <a:pt x="11159" y="3430"/>
                  </a:lnTo>
                  <a:lnTo>
                    <a:pt x="11162" y="3428"/>
                  </a:lnTo>
                  <a:lnTo>
                    <a:pt x="11163" y="3428"/>
                  </a:lnTo>
                  <a:lnTo>
                    <a:pt x="11162" y="3428"/>
                  </a:lnTo>
                  <a:lnTo>
                    <a:pt x="11158" y="3428"/>
                  </a:lnTo>
                  <a:lnTo>
                    <a:pt x="11151" y="3428"/>
                  </a:lnTo>
                  <a:lnTo>
                    <a:pt x="11142" y="3429"/>
                  </a:lnTo>
                  <a:lnTo>
                    <a:pt x="11131" y="3430"/>
                  </a:lnTo>
                  <a:lnTo>
                    <a:pt x="11118" y="3431"/>
                  </a:lnTo>
                  <a:lnTo>
                    <a:pt x="11102" y="3433"/>
                  </a:lnTo>
                  <a:lnTo>
                    <a:pt x="11086" y="3435"/>
                  </a:lnTo>
                  <a:lnTo>
                    <a:pt x="11067" y="3439"/>
                  </a:lnTo>
                  <a:lnTo>
                    <a:pt x="11048" y="3443"/>
                  </a:lnTo>
                  <a:lnTo>
                    <a:pt x="11027" y="3447"/>
                  </a:lnTo>
                  <a:lnTo>
                    <a:pt x="11005" y="3453"/>
                  </a:lnTo>
                  <a:lnTo>
                    <a:pt x="10984" y="3461"/>
                  </a:lnTo>
                  <a:lnTo>
                    <a:pt x="10961" y="3469"/>
                  </a:lnTo>
                  <a:lnTo>
                    <a:pt x="10937" y="3479"/>
                  </a:lnTo>
                  <a:lnTo>
                    <a:pt x="10914" y="3489"/>
                  </a:lnTo>
                  <a:lnTo>
                    <a:pt x="10892" y="3496"/>
                  </a:lnTo>
                  <a:lnTo>
                    <a:pt x="10872" y="3501"/>
                  </a:lnTo>
                  <a:lnTo>
                    <a:pt x="10853" y="3507"/>
                  </a:lnTo>
                  <a:lnTo>
                    <a:pt x="10837" y="3512"/>
                  </a:lnTo>
                  <a:lnTo>
                    <a:pt x="10823" y="3518"/>
                  </a:lnTo>
                  <a:lnTo>
                    <a:pt x="10810" y="3523"/>
                  </a:lnTo>
                  <a:lnTo>
                    <a:pt x="10799" y="3528"/>
                  </a:lnTo>
                  <a:lnTo>
                    <a:pt x="10789" y="3533"/>
                  </a:lnTo>
                  <a:lnTo>
                    <a:pt x="10781" y="3537"/>
                  </a:lnTo>
                  <a:lnTo>
                    <a:pt x="10775" y="3541"/>
                  </a:lnTo>
                  <a:lnTo>
                    <a:pt x="10769" y="3544"/>
                  </a:lnTo>
                  <a:lnTo>
                    <a:pt x="10765" y="3547"/>
                  </a:lnTo>
                  <a:lnTo>
                    <a:pt x="10762" y="3549"/>
                  </a:lnTo>
                  <a:lnTo>
                    <a:pt x="10760" y="3550"/>
                  </a:lnTo>
                  <a:lnTo>
                    <a:pt x="10759" y="3552"/>
                  </a:lnTo>
                  <a:lnTo>
                    <a:pt x="10759" y="3550"/>
                  </a:lnTo>
                  <a:lnTo>
                    <a:pt x="10759" y="3545"/>
                  </a:lnTo>
                  <a:lnTo>
                    <a:pt x="10757" y="3537"/>
                  </a:lnTo>
                  <a:lnTo>
                    <a:pt x="10756" y="3525"/>
                  </a:lnTo>
                  <a:lnTo>
                    <a:pt x="10754" y="3512"/>
                  </a:lnTo>
                  <a:lnTo>
                    <a:pt x="10751" y="3496"/>
                  </a:lnTo>
                  <a:lnTo>
                    <a:pt x="10748" y="3478"/>
                  </a:lnTo>
                  <a:lnTo>
                    <a:pt x="10743" y="3459"/>
                  </a:lnTo>
                  <a:lnTo>
                    <a:pt x="10736" y="3437"/>
                  </a:lnTo>
                  <a:lnTo>
                    <a:pt x="10728" y="3415"/>
                  </a:lnTo>
                  <a:lnTo>
                    <a:pt x="10717" y="3392"/>
                  </a:lnTo>
                  <a:lnTo>
                    <a:pt x="10706" y="3368"/>
                  </a:lnTo>
                  <a:lnTo>
                    <a:pt x="10691" y="3343"/>
                  </a:lnTo>
                  <a:lnTo>
                    <a:pt x="10675" y="3319"/>
                  </a:lnTo>
                  <a:lnTo>
                    <a:pt x="10655" y="3295"/>
                  </a:lnTo>
                  <a:lnTo>
                    <a:pt x="10634" y="3271"/>
                  </a:lnTo>
                  <a:lnTo>
                    <a:pt x="10615" y="3249"/>
                  </a:lnTo>
                  <a:lnTo>
                    <a:pt x="10597" y="3229"/>
                  </a:lnTo>
                  <a:lnTo>
                    <a:pt x="10579" y="3210"/>
                  </a:lnTo>
                  <a:lnTo>
                    <a:pt x="10560" y="3195"/>
                  </a:lnTo>
                  <a:lnTo>
                    <a:pt x="10542" y="3180"/>
                  </a:lnTo>
                  <a:lnTo>
                    <a:pt x="10523" y="3167"/>
                  </a:lnTo>
                  <a:lnTo>
                    <a:pt x="10506" y="3157"/>
                  </a:lnTo>
                  <a:lnTo>
                    <a:pt x="10489" y="3146"/>
                  </a:lnTo>
                  <a:lnTo>
                    <a:pt x="10474" y="3139"/>
                  </a:lnTo>
                  <a:lnTo>
                    <a:pt x="10460" y="3132"/>
                  </a:lnTo>
                  <a:lnTo>
                    <a:pt x="10447" y="3127"/>
                  </a:lnTo>
                  <a:lnTo>
                    <a:pt x="10436" y="3123"/>
                  </a:lnTo>
                  <a:lnTo>
                    <a:pt x="10427" y="3120"/>
                  </a:lnTo>
                  <a:lnTo>
                    <a:pt x="10421" y="3118"/>
                  </a:lnTo>
                  <a:lnTo>
                    <a:pt x="10417" y="3117"/>
                  </a:lnTo>
                  <a:lnTo>
                    <a:pt x="10416" y="3116"/>
                  </a:lnTo>
                  <a:lnTo>
                    <a:pt x="10416" y="3114"/>
                  </a:lnTo>
                  <a:lnTo>
                    <a:pt x="10418" y="3110"/>
                  </a:lnTo>
                  <a:lnTo>
                    <a:pt x="10419" y="3107"/>
                  </a:lnTo>
                  <a:lnTo>
                    <a:pt x="10422" y="3104"/>
                  </a:lnTo>
                  <a:lnTo>
                    <a:pt x="10426" y="3100"/>
                  </a:lnTo>
                  <a:lnTo>
                    <a:pt x="10431" y="3096"/>
                  </a:lnTo>
                  <a:lnTo>
                    <a:pt x="10437" y="3092"/>
                  </a:lnTo>
                  <a:lnTo>
                    <a:pt x="10446" y="3087"/>
                  </a:lnTo>
                  <a:lnTo>
                    <a:pt x="10456" y="3082"/>
                  </a:lnTo>
                  <a:lnTo>
                    <a:pt x="10468" y="3076"/>
                  </a:lnTo>
                  <a:lnTo>
                    <a:pt x="10482" y="3071"/>
                  </a:lnTo>
                  <a:lnTo>
                    <a:pt x="10499" y="3065"/>
                  </a:lnTo>
                  <a:lnTo>
                    <a:pt x="10518" y="3059"/>
                  </a:lnTo>
                  <a:lnTo>
                    <a:pt x="10540" y="3054"/>
                  </a:lnTo>
                  <a:lnTo>
                    <a:pt x="10562" y="3048"/>
                  </a:lnTo>
                  <a:lnTo>
                    <a:pt x="10584" y="3041"/>
                  </a:lnTo>
                  <a:lnTo>
                    <a:pt x="10604" y="3036"/>
                  </a:lnTo>
                  <a:lnTo>
                    <a:pt x="10622" y="3030"/>
                  </a:lnTo>
                  <a:lnTo>
                    <a:pt x="10639" y="3025"/>
                  </a:lnTo>
                  <a:lnTo>
                    <a:pt x="10654" y="3020"/>
                  </a:lnTo>
                  <a:lnTo>
                    <a:pt x="10668" y="3016"/>
                  </a:lnTo>
                  <a:lnTo>
                    <a:pt x="10680" y="3010"/>
                  </a:lnTo>
                  <a:lnTo>
                    <a:pt x="10691" y="3006"/>
                  </a:lnTo>
                  <a:lnTo>
                    <a:pt x="10701" y="3002"/>
                  </a:lnTo>
                  <a:lnTo>
                    <a:pt x="10709" y="2999"/>
                  </a:lnTo>
                  <a:lnTo>
                    <a:pt x="10715" y="2996"/>
                  </a:lnTo>
                  <a:lnTo>
                    <a:pt x="10720" y="2994"/>
                  </a:lnTo>
                  <a:lnTo>
                    <a:pt x="10724" y="2993"/>
                  </a:lnTo>
                  <a:lnTo>
                    <a:pt x="10727" y="2992"/>
                  </a:lnTo>
                  <a:lnTo>
                    <a:pt x="10728" y="2991"/>
                  </a:lnTo>
                  <a:lnTo>
                    <a:pt x="10723" y="2991"/>
                  </a:lnTo>
                  <a:lnTo>
                    <a:pt x="10718" y="2991"/>
                  </a:lnTo>
                  <a:lnTo>
                    <a:pt x="10710" y="2991"/>
                  </a:lnTo>
                  <a:lnTo>
                    <a:pt x="10702" y="2992"/>
                  </a:lnTo>
                  <a:lnTo>
                    <a:pt x="10690" y="2992"/>
                  </a:lnTo>
                  <a:lnTo>
                    <a:pt x="10679" y="2993"/>
                  </a:lnTo>
                  <a:lnTo>
                    <a:pt x="10665" y="2994"/>
                  </a:lnTo>
                  <a:lnTo>
                    <a:pt x="10650" y="2995"/>
                  </a:lnTo>
                  <a:lnTo>
                    <a:pt x="10634" y="2997"/>
                  </a:lnTo>
                  <a:lnTo>
                    <a:pt x="10615" y="2999"/>
                  </a:lnTo>
                  <a:lnTo>
                    <a:pt x="10595" y="3001"/>
                  </a:lnTo>
                  <a:lnTo>
                    <a:pt x="10576" y="3004"/>
                  </a:lnTo>
                  <a:lnTo>
                    <a:pt x="10554" y="3008"/>
                  </a:lnTo>
                  <a:lnTo>
                    <a:pt x="10530" y="3013"/>
                  </a:lnTo>
                  <a:lnTo>
                    <a:pt x="10507" y="3017"/>
                  </a:lnTo>
                  <a:lnTo>
                    <a:pt x="10482" y="3023"/>
                  </a:lnTo>
                  <a:lnTo>
                    <a:pt x="10428" y="3035"/>
                  </a:lnTo>
                  <a:lnTo>
                    <a:pt x="10371" y="3052"/>
                  </a:lnTo>
                  <a:lnTo>
                    <a:pt x="10312" y="3072"/>
                  </a:lnTo>
                  <a:lnTo>
                    <a:pt x="10281" y="3084"/>
                  </a:lnTo>
                  <a:lnTo>
                    <a:pt x="10250" y="3096"/>
                  </a:lnTo>
                  <a:lnTo>
                    <a:pt x="10217" y="3110"/>
                  </a:lnTo>
                  <a:lnTo>
                    <a:pt x="10185" y="3125"/>
                  </a:lnTo>
                  <a:lnTo>
                    <a:pt x="10150" y="3141"/>
                  </a:lnTo>
                  <a:lnTo>
                    <a:pt x="10117" y="3158"/>
                  </a:lnTo>
                  <a:lnTo>
                    <a:pt x="10083" y="3176"/>
                  </a:lnTo>
                  <a:lnTo>
                    <a:pt x="10048" y="3197"/>
                  </a:lnTo>
                  <a:lnTo>
                    <a:pt x="10014" y="3217"/>
                  </a:lnTo>
                  <a:lnTo>
                    <a:pt x="9979" y="3240"/>
                  </a:lnTo>
                  <a:lnTo>
                    <a:pt x="9944" y="3262"/>
                  </a:lnTo>
                  <a:lnTo>
                    <a:pt x="9911" y="3284"/>
                  </a:lnTo>
                  <a:lnTo>
                    <a:pt x="9878" y="3308"/>
                  </a:lnTo>
                  <a:lnTo>
                    <a:pt x="9846" y="3333"/>
                  </a:lnTo>
                  <a:lnTo>
                    <a:pt x="9785" y="3384"/>
                  </a:lnTo>
                  <a:lnTo>
                    <a:pt x="9728" y="3439"/>
                  </a:lnTo>
                  <a:lnTo>
                    <a:pt x="9676" y="3496"/>
                  </a:lnTo>
                  <a:lnTo>
                    <a:pt x="9651" y="3524"/>
                  </a:lnTo>
                  <a:lnTo>
                    <a:pt x="9627" y="3553"/>
                  </a:lnTo>
                  <a:lnTo>
                    <a:pt x="9604" y="3581"/>
                  </a:lnTo>
                  <a:lnTo>
                    <a:pt x="9583" y="3610"/>
                  </a:lnTo>
                  <a:lnTo>
                    <a:pt x="9562" y="3638"/>
                  </a:lnTo>
                  <a:lnTo>
                    <a:pt x="9542" y="3665"/>
                  </a:lnTo>
                  <a:lnTo>
                    <a:pt x="9524" y="3691"/>
                  </a:lnTo>
                  <a:lnTo>
                    <a:pt x="9507" y="3717"/>
                  </a:lnTo>
                  <a:lnTo>
                    <a:pt x="9491" y="3743"/>
                  </a:lnTo>
                  <a:lnTo>
                    <a:pt x="9475" y="3767"/>
                  </a:lnTo>
                  <a:lnTo>
                    <a:pt x="9462" y="3789"/>
                  </a:lnTo>
                  <a:lnTo>
                    <a:pt x="9449" y="3811"/>
                  </a:lnTo>
                  <a:lnTo>
                    <a:pt x="9437" y="3831"/>
                  </a:lnTo>
                  <a:lnTo>
                    <a:pt x="9427" y="3850"/>
                  </a:lnTo>
                  <a:lnTo>
                    <a:pt x="9418" y="3866"/>
                  </a:lnTo>
                  <a:lnTo>
                    <a:pt x="9409" y="3881"/>
                  </a:lnTo>
                  <a:lnTo>
                    <a:pt x="9403" y="3894"/>
                  </a:lnTo>
                  <a:lnTo>
                    <a:pt x="9397" y="3906"/>
                  </a:lnTo>
                  <a:lnTo>
                    <a:pt x="9393" y="3914"/>
                  </a:lnTo>
                  <a:lnTo>
                    <a:pt x="9390" y="3921"/>
                  </a:lnTo>
                  <a:lnTo>
                    <a:pt x="9388" y="3924"/>
                  </a:lnTo>
                  <a:lnTo>
                    <a:pt x="9387" y="3926"/>
                  </a:lnTo>
                  <a:lnTo>
                    <a:pt x="9387" y="3926"/>
                  </a:lnTo>
                  <a:close/>
                  <a:moveTo>
                    <a:pt x="9231" y="0"/>
                  </a:moveTo>
                  <a:lnTo>
                    <a:pt x="9134" y="1"/>
                  </a:lnTo>
                  <a:lnTo>
                    <a:pt x="9040" y="4"/>
                  </a:lnTo>
                  <a:lnTo>
                    <a:pt x="8947" y="8"/>
                  </a:lnTo>
                  <a:lnTo>
                    <a:pt x="8856" y="15"/>
                  </a:lnTo>
                  <a:lnTo>
                    <a:pt x="8767" y="23"/>
                  </a:lnTo>
                  <a:lnTo>
                    <a:pt x="8680" y="34"/>
                  </a:lnTo>
                  <a:lnTo>
                    <a:pt x="8596" y="46"/>
                  </a:lnTo>
                  <a:lnTo>
                    <a:pt x="8513" y="59"/>
                  </a:lnTo>
                  <a:lnTo>
                    <a:pt x="8433" y="75"/>
                  </a:lnTo>
                  <a:lnTo>
                    <a:pt x="8354" y="91"/>
                  </a:lnTo>
                  <a:lnTo>
                    <a:pt x="8277" y="110"/>
                  </a:lnTo>
                  <a:lnTo>
                    <a:pt x="8202" y="129"/>
                  </a:lnTo>
                  <a:lnTo>
                    <a:pt x="8129" y="150"/>
                  </a:lnTo>
                  <a:lnTo>
                    <a:pt x="8058" y="172"/>
                  </a:lnTo>
                  <a:lnTo>
                    <a:pt x="7989" y="195"/>
                  </a:lnTo>
                  <a:lnTo>
                    <a:pt x="7921" y="219"/>
                  </a:lnTo>
                  <a:lnTo>
                    <a:pt x="7856" y="245"/>
                  </a:lnTo>
                  <a:lnTo>
                    <a:pt x="7792" y="272"/>
                  </a:lnTo>
                  <a:lnTo>
                    <a:pt x="7730" y="298"/>
                  </a:lnTo>
                  <a:lnTo>
                    <a:pt x="7669" y="326"/>
                  </a:lnTo>
                  <a:lnTo>
                    <a:pt x="7610" y="355"/>
                  </a:lnTo>
                  <a:lnTo>
                    <a:pt x="7553" y="385"/>
                  </a:lnTo>
                  <a:lnTo>
                    <a:pt x="7497" y="416"/>
                  </a:lnTo>
                  <a:lnTo>
                    <a:pt x="7444" y="447"/>
                  </a:lnTo>
                  <a:lnTo>
                    <a:pt x="7392" y="478"/>
                  </a:lnTo>
                  <a:lnTo>
                    <a:pt x="7342" y="510"/>
                  </a:lnTo>
                  <a:lnTo>
                    <a:pt x="7293" y="542"/>
                  </a:lnTo>
                  <a:lnTo>
                    <a:pt x="7246" y="575"/>
                  </a:lnTo>
                  <a:lnTo>
                    <a:pt x="7200" y="608"/>
                  </a:lnTo>
                  <a:lnTo>
                    <a:pt x="7157" y="641"/>
                  </a:lnTo>
                  <a:lnTo>
                    <a:pt x="7113" y="675"/>
                  </a:lnTo>
                  <a:lnTo>
                    <a:pt x="7073" y="708"/>
                  </a:lnTo>
                  <a:lnTo>
                    <a:pt x="7034" y="742"/>
                  </a:lnTo>
                  <a:lnTo>
                    <a:pt x="6996" y="775"/>
                  </a:lnTo>
                  <a:lnTo>
                    <a:pt x="6960" y="809"/>
                  </a:lnTo>
                  <a:lnTo>
                    <a:pt x="6924" y="842"/>
                  </a:lnTo>
                  <a:lnTo>
                    <a:pt x="6890" y="875"/>
                  </a:lnTo>
                  <a:lnTo>
                    <a:pt x="6858" y="908"/>
                  </a:lnTo>
                  <a:lnTo>
                    <a:pt x="6827" y="941"/>
                  </a:lnTo>
                  <a:lnTo>
                    <a:pt x="6799" y="973"/>
                  </a:lnTo>
                  <a:lnTo>
                    <a:pt x="6771" y="1005"/>
                  </a:lnTo>
                  <a:lnTo>
                    <a:pt x="6744" y="1036"/>
                  </a:lnTo>
                  <a:lnTo>
                    <a:pt x="6718" y="1067"/>
                  </a:lnTo>
                  <a:lnTo>
                    <a:pt x="6694" y="1097"/>
                  </a:lnTo>
                  <a:lnTo>
                    <a:pt x="6672" y="1127"/>
                  </a:lnTo>
                  <a:lnTo>
                    <a:pt x="6650" y="1154"/>
                  </a:lnTo>
                  <a:lnTo>
                    <a:pt x="6629" y="1182"/>
                  </a:lnTo>
                  <a:lnTo>
                    <a:pt x="6611" y="1209"/>
                  </a:lnTo>
                  <a:lnTo>
                    <a:pt x="6593" y="1235"/>
                  </a:lnTo>
                  <a:lnTo>
                    <a:pt x="6576" y="1259"/>
                  </a:lnTo>
                  <a:lnTo>
                    <a:pt x="6560" y="1283"/>
                  </a:lnTo>
                  <a:lnTo>
                    <a:pt x="6547" y="1306"/>
                  </a:lnTo>
                  <a:lnTo>
                    <a:pt x="6533" y="1327"/>
                  </a:lnTo>
                  <a:lnTo>
                    <a:pt x="6521" y="1347"/>
                  </a:lnTo>
                  <a:lnTo>
                    <a:pt x="6509" y="1365"/>
                  </a:lnTo>
                  <a:lnTo>
                    <a:pt x="6500" y="1383"/>
                  </a:lnTo>
                  <a:lnTo>
                    <a:pt x="6491" y="1399"/>
                  </a:lnTo>
                  <a:lnTo>
                    <a:pt x="6484" y="1414"/>
                  </a:lnTo>
                  <a:lnTo>
                    <a:pt x="6476" y="1426"/>
                  </a:lnTo>
                  <a:lnTo>
                    <a:pt x="6471" y="1438"/>
                  </a:lnTo>
                  <a:lnTo>
                    <a:pt x="6466" y="1447"/>
                  </a:lnTo>
                  <a:lnTo>
                    <a:pt x="6462" y="1454"/>
                  </a:lnTo>
                  <a:lnTo>
                    <a:pt x="6460" y="1460"/>
                  </a:lnTo>
                  <a:lnTo>
                    <a:pt x="6458" y="1464"/>
                  </a:lnTo>
                  <a:lnTo>
                    <a:pt x="6431" y="1476"/>
                  </a:lnTo>
                  <a:lnTo>
                    <a:pt x="6402" y="1487"/>
                  </a:lnTo>
                  <a:lnTo>
                    <a:pt x="6373" y="1496"/>
                  </a:lnTo>
                  <a:lnTo>
                    <a:pt x="6343" y="1506"/>
                  </a:lnTo>
                  <a:lnTo>
                    <a:pt x="6311" y="1513"/>
                  </a:lnTo>
                  <a:lnTo>
                    <a:pt x="6278" y="1519"/>
                  </a:lnTo>
                  <a:lnTo>
                    <a:pt x="6244" y="1523"/>
                  </a:lnTo>
                  <a:lnTo>
                    <a:pt x="6208" y="1526"/>
                  </a:lnTo>
                  <a:lnTo>
                    <a:pt x="6161" y="1540"/>
                  </a:lnTo>
                  <a:lnTo>
                    <a:pt x="6114" y="1557"/>
                  </a:lnTo>
                  <a:lnTo>
                    <a:pt x="6090" y="1567"/>
                  </a:lnTo>
                  <a:lnTo>
                    <a:pt x="6067" y="1579"/>
                  </a:lnTo>
                  <a:lnTo>
                    <a:pt x="6043" y="1591"/>
                  </a:lnTo>
                  <a:lnTo>
                    <a:pt x="6018" y="1604"/>
                  </a:lnTo>
                  <a:lnTo>
                    <a:pt x="5994" y="1619"/>
                  </a:lnTo>
                  <a:lnTo>
                    <a:pt x="5970" y="1634"/>
                  </a:lnTo>
                  <a:lnTo>
                    <a:pt x="5945" y="1651"/>
                  </a:lnTo>
                  <a:lnTo>
                    <a:pt x="5919" y="1668"/>
                  </a:lnTo>
                  <a:lnTo>
                    <a:pt x="5893" y="1688"/>
                  </a:lnTo>
                  <a:lnTo>
                    <a:pt x="5867" y="1708"/>
                  </a:lnTo>
                  <a:lnTo>
                    <a:pt x="5842" y="1729"/>
                  </a:lnTo>
                  <a:lnTo>
                    <a:pt x="5815" y="1752"/>
                  </a:lnTo>
                  <a:lnTo>
                    <a:pt x="5787" y="1776"/>
                  </a:lnTo>
                  <a:lnTo>
                    <a:pt x="5759" y="1801"/>
                  </a:lnTo>
                  <a:lnTo>
                    <a:pt x="5731" y="1828"/>
                  </a:lnTo>
                  <a:lnTo>
                    <a:pt x="5702" y="1856"/>
                  </a:lnTo>
                  <a:lnTo>
                    <a:pt x="5673" y="1886"/>
                  </a:lnTo>
                  <a:lnTo>
                    <a:pt x="5643" y="1917"/>
                  </a:lnTo>
                  <a:lnTo>
                    <a:pt x="5612" y="1948"/>
                  </a:lnTo>
                  <a:lnTo>
                    <a:pt x="5581" y="1981"/>
                  </a:lnTo>
                  <a:lnTo>
                    <a:pt x="5549" y="2017"/>
                  </a:lnTo>
                  <a:lnTo>
                    <a:pt x="5516" y="2054"/>
                  </a:lnTo>
                  <a:lnTo>
                    <a:pt x="5483" y="2092"/>
                  </a:lnTo>
                  <a:lnTo>
                    <a:pt x="5449" y="2131"/>
                  </a:lnTo>
                  <a:lnTo>
                    <a:pt x="5414" y="2172"/>
                  </a:lnTo>
                  <a:lnTo>
                    <a:pt x="5379" y="2215"/>
                  </a:lnTo>
                  <a:lnTo>
                    <a:pt x="5342" y="2260"/>
                  </a:lnTo>
                  <a:lnTo>
                    <a:pt x="5305" y="2305"/>
                  </a:lnTo>
                  <a:lnTo>
                    <a:pt x="4961" y="2368"/>
                  </a:lnTo>
                  <a:lnTo>
                    <a:pt x="4957" y="2368"/>
                  </a:lnTo>
                  <a:lnTo>
                    <a:pt x="4951" y="2368"/>
                  </a:lnTo>
                  <a:lnTo>
                    <a:pt x="4942" y="2369"/>
                  </a:lnTo>
                  <a:lnTo>
                    <a:pt x="4932" y="2370"/>
                  </a:lnTo>
                  <a:lnTo>
                    <a:pt x="4920" y="2371"/>
                  </a:lnTo>
                  <a:lnTo>
                    <a:pt x="4904" y="2373"/>
                  </a:lnTo>
                  <a:lnTo>
                    <a:pt x="4888" y="2375"/>
                  </a:lnTo>
                  <a:lnTo>
                    <a:pt x="4869" y="2378"/>
                  </a:lnTo>
                  <a:lnTo>
                    <a:pt x="4848" y="2380"/>
                  </a:lnTo>
                  <a:lnTo>
                    <a:pt x="4826" y="2384"/>
                  </a:lnTo>
                  <a:lnTo>
                    <a:pt x="4802" y="2387"/>
                  </a:lnTo>
                  <a:lnTo>
                    <a:pt x="4776" y="2391"/>
                  </a:lnTo>
                  <a:lnTo>
                    <a:pt x="4748" y="2397"/>
                  </a:lnTo>
                  <a:lnTo>
                    <a:pt x="4719" y="2402"/>
                  </a:lnTo>
                  <a:lnTo>
                    <a:pt x="4688" y="2407"/>
                  </a:lnTo>
                  <a:lnTo>
                    <a:pt x="4656" y="2413"/>
                  </a:lnTo>
                  <a:lnTo>
                    <a:pt x="4622" y="2419"/>
                  </a:lnTo>
                  <a:lnTo>
                    <a:pt x="4587" y="2426"/>
                  </a:lnTo>
                  <a:lnTo>
                    <a:pt x="4550" y="2435"/>
                  </a:lnTo>
                  <a:lnTo>
                    <a:pt x="4512" y="2443"/>
                  </a:lnTo>
                  <a:lnTo>
                    <a:pt x="4473" y="2451"/>
                  </a:lnTo>
                  <a:lnTo>
                    <a:pt x="4432" y="2460"/>
                  </a:lnTo>
                  <a:lnTo>
                    <a:pt x="4390" y="2471"/>
                  </a:lnTo>
                  <a:lnTo>
                    <a:pt x="4347" y="2481"/>
                  </a:lnTo>
                  <a:lnTo>
                    <a:pt x="4303" y="2492"/>
                  </a:lnTo>
                  <a:lnTo>
                    <a:pt x="4258" y="2505"/>
                  </a:lnTo>
                  <a:lnTo>
                    <a:pt x="4165" y="2530"/>
                  </a:lnTo>
                  <a:lnTo>
                    <a:pt x="4068" y="2558"/>
                  </a:lnTo>
                  <a:lnTo>
                    <a:pt x="3968" y="2590"/>
                  </a:lnTo>
                  <a:lnTo>
                    <a:pt x="3865" y="2624"/>
                  </a:lnTo>
                  <a:lnTo>
                    <a:pt x="3759" y="2662"/>
                  </a:lnTo>
                  <a:lnTo>
                    <a:pt x="3652" y="2702"/>
                  </a:lnTo>
                  <a:lnTo>
                    <a:pt x="3544" y="2747"/>
                  </a:lnTo>
                  <a:lnTo>
                    <a:pt x="3433" y="2795"/>
                  </a:lnTo>
                  <a:lnTo>
                    <a:pt x="3322" y="2846"/>
                  </a:lnTo>
                  <a:lnTo>
                    <a:pt x="3210" y="2901"/>
                  </a:lnTo>
                  <a:lnTo>
                    <a:pt x="3099" y="2960"/>
                  </a:lnTo>
                  <a:lnTo>
                    <a:pt x="2987" y="3023"/>
                  </a:lnTo>
                  <a:lnTo>
                    <a:pt x="2931" y="3056"/>
                  </a:lnTo>
                  <a:lnTo>
                    <a:pt x="2877" y="3090"/>
                  </a:lnTo>
                  <a:lnTo>
                    <a:pt x="2822" y="3125"/>
                  </a:lnTo>
                  <a:lnTo>
                    <a:pt x="2767" y="3161"/>
                  </a:lnTo>
                  <a:lnTo>
                    <a:pt x="2713" y="3198"/>
                  </a:lnTo>
                  <a:lnTo>
                    <a:pt x="2659" y="3236"/>
                  </a:lnTo>
                  <a:lnTo>
                    <a:pt x="2605" y="3275"/>
                  </a:lnTo>
                  <a:lnTo>
                    <a:pt x="2553" y="3315"/>
                  </a:lnTo>
                  <a:lnTo>
                    <a:pt x="2501" y="3358"/>
                  </a:lnTo>
                  <a:lnTo>
                    <a:pt x="2449" y="3400"/>
                  </a:lnTo>
                  <a:lnTo>
                    <a:pt x="2398" y="3444"/>
                  </a:lnTo>
                  <a:lnTo>
                    <a:pt x="2348" y="3489"/>
                  </a:lnTo>
                  <a:lnTo>
                    <a:pt x="2299" y="3536"/>
                  </a:lnTo>
                  <a:lnTo>
                    <a:pt x="2250" y="3583"/>
                  </a:lnTo>
                  <a:lnTo>
                    <a:pt x="2217" y="3616"/>
                  </a:lnTo>
                  <a:lnTo>
                    <a:pt x="2184" y="3650"/>
                  </a:lnTo>
                  <a:lnTo>
                    <a:pt x="2150" y="3687"/>
                  </a:lnTo>
                  <a:lnTo>
                    <a:pt x="2116" y="3725"/>
                  </a:lnTo>
                  <a:lnTo>
                    <a:pt x="2081" y="3764"/>
                  </a:lnTo>
                  <a:lnTo>
                    <a:pt x="2046" y="3805"/>
                  </a:lnTo>
                  <a:lnTo>
                    <a:pt x="1973" y="3888"/>
                  </a:lnTo>
                  <a:lnTo>
                    <a:pt x="1901" y="3975"/>
                  </a:lnTo>
                  <a:lnTo>
                    <a:pt x="1829" y="4063"/>
                  </a:lnTo>
                  <a:lnTo>
                    <a:pt x="1759" y="4151"/>
                  </a:lnTo>
                  <a:lnTo>
                    <a:pt x="1690" y="4236"/>
                  </a:lnTo>
                  <a:lnTo>
                    <a:pt x="1657" y="4278"/>
                  </a:lnTo>
                  <a:lnTo>
                    <a:pt x="1625" y="4320"/>
                  </a:lnTo>
                  <a:lnTo>
                    <a:pt x="1593" y="4360"/>
                  </a:lnTo>
                  <a:lnTo>
                    <a:pt x="1563" y="4399"/>
                  </a:lnTo>
                  <a:lnTo>
                    <a:pt x="1533" y="4436"/>
                  </a:lnTo>
                  <a:lnTo>
                    <a:pt x="1505" y="4472"/>
                  </a:lnTo>
                  <a:lnTo>
                    <a:pt x="1478" y="4506"/>
                  </a:lnTo>
                  <a:lnTo>
                    <a:pt x="1453" y="4538"/>
                  </a:lnTo>
                  <a:lnTo>
                    <a:pt x="1429" y="4568"/>
                  </a:lnTo>
                  <a:lnTo>
                    <a:pt x="1407" y="4596"/>
                  </a:lnTo>
                  <a:lnTo>
                    <a:pt x="1387" y="4621"/>
                  </a:lnTo>
                  <a:lnTo>
                    <a:pt x="1369" y="4644"/>
                  </a:lnTo>
                  <a:lnTo>
                    <a:pt x="1352" y="4664"/>
                  </a:lnTo>
                  <a:lnTo>
                    <a:pt x="1338" y="4681"/>
                  </a:lnTo>
                  <a:lnTo>
                    <a:pt x="1325" y="4695"/>
                  </a:lnTo>
                  <a:lnTo>
                    <a:pt x="1315" y="4705"/>
                  </a:lnTo>
                  <a:lnTo>
                    <a:pt x="1315" y="4699"/>
                  </a:lnTo>
                  <a:lnTo>
                    <a:pt x="1315" y="4689"/>
                  </a:lnTo>
                  <a:lnTo>
                    <a:pt x="1315" y="4678"/>
                  </a:lnTo>
                  <a:lnTo>
                    <a:pt x="1315" y="4666"/>
                  </a:lnTo>
                  <a:lnTo>
                    <a:pt x="1315" y="4651"/>
                  </a:lnTo>
                  <a:lnTo>
                    <a:pt x="1316" y="4636"/>
                  </a:lnTo>
                  <a:lnTo>
                    <a:pt x="1316" y="4618"/>
                  </a:lnTo>
                  <a:lnTo>
                    <a:pt x="1316" y="4599"/>
                  </a:lnTo>
                  <a:lnTo>
                    <a:pt x="1316" y="4579"/>
                  </a:lnTo>
                  <a:lnTo>
                    <a:pt x="1317" y="4558"/>
                  </a:lnTo>
                  <a:lnTo>
                    <a:pt x="1317" y="4535"/>
                  </a:lnTo>
                  <a:lnTo>
                    <a:pt x="1318" y="4511"/>
                  </a:lnTo>
                  <a:lnTo>
                    <a:pt x="1320" y="4462"/>
                  </a:lnTo>
                  <a:lnTo>
                    <a:pt x="1322" y="4410"/>
                  </a:lnTo>
                  <a:lnTo>
                    <a:pt x="1325" y="4356"/>
                  </a:lnTo>
                  <a:lnTo>
                    <a:pt x="1329" y="4300"/>
                  </a:lnTo>
                  <a:lnTo>
                    <a:pt x="1334" y="4244"/>
                  </a:lnTo>
                  <a:lnTo>
                    <a:pt x="1341" y="4189"/>
                  </a:lnTo>
                  <a:lnTo>
                    <a:pt x="1348" y="4135"/>
                  </a:lnTo>
                  <a:lnTo>
                    <a:pt x="1356" y="4083"/>
                  </a:lnTo>
                  <a:lnTo>
                    <a:pt x="1366" y="4033"/>
                  </a:lnTo>
                  <a:lnTo>
                    <a:pt x="1372" y="4011"/>
                  </a:lnTo>
                  <a:lnTo>
                    <a:pt x="1378" y="3988"/>
                  </a:lnTo>
                  <a:lnTo>
                    <a:pt x="1398" y="3917"/>
                  </a:lnTo>
                  <a:lnTo>
                    <a:pt x="1421" y="3848"/>
                  </a:lnTo>
                  <a:lnTo>
                    <a:pt x="1447" y="3779"/>
                  </a:lnTo>
                  <a:lnTo>
                    <a:pt x="1474" y="3711"/>
                  </a:lnTo>
                  <a:lnTo>
                    <a:pt x="1503" y="3644"/>
                  </a:lnTo>
                  <a:lnTo>
                    <a:pt x="1534" y="3578"/>
                  </a:lnTo>
                  <a:lnTo>
                    <a:pt x="1566" y="3512"/>
                  </a:lnTo>
                  <a:lnTo>
                    <a:pt x="1600" y="3446"/>
                  </a:lnTo>
                  <a:lnTo>
                    <a:pt x="1634" y="3381"/>
                  </a:lnTo>
                  <a:lnTo>
                    <a:pt x="1670" y="3316"/>
                  </a:lnTo>
                  <a:lnTo>
                    <a:pt x="1743" y="3186"/>
                  </a:lnTo>
                  <a:lnTo>
                    <a:pt x="1820" y="3054"/>
                  </a:lnTo>
                  <a:lnTo>
                    <a:pt x="1897" y="2921"/>
                  </a:lnTo>
                  <a:lnTo>
                    <a:pt x="1780" y="2979"/>
                  </a:lnTo>
                  <a:lnTo>
                    <a:pt x="1665" y="3037"/>
                  </a:lnTo>
                  <a:lnTo>
                    <a:pt x="1547" y="3096"/>
                  </a:lnTo>
                  <a:lnTo>
                    <a:pt x="1487" y="3127"/>
                  </a:lnTo>
                  <a:lnTo>
                    <a:pt x="1425" y="3158"/>
                  </a:lnTo>
                  <a:lnTo>
                    <a:pt x="1363" y="3191"/>
                  </a:lnTo>
                  <a:lnTo>
                    <a:pt x="1298" y="3224"/>
                  </a:lnTo>
                  <a:lnTo>
                    <a:pt x="1232" y="3259"/>
                  </a:lnTo>
                  <a:lnTo>
                    <a:pt x="1164" y="3296"/>
                  </a:lnTo>
                  <a:lnTo>
                    <a:pt x="1093" y="3334"/>
                  </a:lnTo>
                  <a:lnTo>
                    <a:pt x="1020" y="3374"/>
                  </a:lnTo>
                  <a:lnTo>
                    <a:pt x="944" y="3415"/>
                  </a:lnTo>
                  <a:lnTo>
                    <a:pt x="865" y="3460"/>
                  </a:lnTo>
                  <a:lnTo>
                    <a:pt x="797" y="3496"/>
                  </a:lnTo>
                  <a:lnTo>
                    <a:pt x="731" y="3534"/>
                  </a:lnTo>
                  <a:lnTo>
                    <a:pt x="664" y="3573"/>
                  </a:lnTo>
                  <a:lnTo>
                    <a:pt x="600" y="3615"/>
                  </a:lnTo>
                  <a:lnTo>
                    <a:pt x="538" y="3658"/>
                  </a:lnTo>
                  <a:lnTo>
                    <a:pt x="477" y="3705"/>
                  </a:lnTo>
                  <a:lnTo>
                    <a:pt x="418" y="3754"/>
                  </a:lnTo>
                  <a:lnTo>
                    <a:pt x="362" y="3807"/>
                  </a:lnTo>
                  <a:lnTo>
                    <a:pt x="308" y="3862"/>
                  </a:lnTo>
                  <a:lnTo>
                    <a:pt x="259" y="3921"/>
                  </a:lnTo>
                  <a:lnTo>
                    <a:pt x="211" y="3984"/>
                  </a:lnTo>
                  <a:lnTo>
                    <a:pt x="190" y="4017"/>
                  </a:lnTo>
                  <a:lnTo>
                    <a:pt x="168" y="4051"/>
                  </a:lnTo>
                  <a:lnTo>
                    <a:pt x="148" y="4086"/>
                  </a:lnTo>
                  <a:lnTo>
                    <a:pt x="129" y="4122"/>
                  </a:lnTo>
                  <a:lnTo>
                    <a:pt x="111" y="4159"/>
                  </a:lnTo>
                  <a:lnTo>
                    <a:pt x="94" y="4197"/>
                  </a:lnTo>
                  <a:lnTo>
                    <a:pt x="78" y="4236"/>
                  </a:lnTo>
                  <a:lnTo>
                    <a:pt x="63" y="4277"/>
                  </a:lnTo>
                  <a:lnTo>
                    <a:pt x="49" y="4319"/>
                  </a:lnTo>
                  <a:lnTo>
                    <a:pt x="37" y="4362"/>
                  </a:lnTo>
                  <a:lnTo>
                    <a:pt x="29" y="4394"/>
                  </a:lnTo>
                  <a:lnTo>
                    <a:pt x="21" y="4425"/>
                  </a:lnTo>
                  <a:lnTo>
                    <a:pt x="15" y="4456"/>
                  </a:lnTo>
                  <a:lnTo>
                    <a:pt x="11" y="4485"/>
                  </a:lnTo>
                  <a:lnTo>
                    <a:pt x="3" y="4542"/>
                  </a:lnTo>
                  <a:lnTo>
                    <a:pt x="0" y="4597"/>
                  </a:lnTo>
                  <a:lnTo>
                    <a:pt x="0" y="4649"/>
                  </a:lnTo>
                  <a:lnTo>
                    <a:pt x="3" y="4699"/>
                  </a:lnTo>
                  <a:lnTo>
                    <a:pt x="9" y="4746"/>
                  </a:lnTo>
                  <a:lnTo>
                    <a:pt x="17" y="4790"/>
                  </a:lnTo>
                  <a:lnTo>
                    <a:pt x="30" y="4834"/>
                  </a:lnTo>
                  <a:lnTo>
                    <a:pt x="43" y="4874"/>
                  </a:lnTo>
                  <a:lnTo>
                    <a:pt x="59" y="4913"/>
                  </a:lnTo>
                  <a:lnTo>
                    <a:pt x="77" y="4949"/>
                  </a:lnTo>
                  <a:lnTo>
                    <a:pt x="96" y="4984"/>
                  </a:lnTo>
                  <a:lnTo>
                    <a:pt x="117" y="5018"/>
                  </a:lnTo>
                  <a:lnTo>
                    <a:pt x="139" y="5049"/>
                  </a:lnTo>
                  <a:lnTo>
                    <a:pt x="162" y="5079"/>
                  </a:lnTo>
                  <a:lnTo>
                    <a:pt x="165" y="5104"/>
                  </a:lnTo>
                  <a:lnTo>
                    <a:pt x="169" y="5128"/>
                  </a:lnTo>
                  <a:lnTo>
                    <a:pt x="173" y="5154"/>
                  </a:lnTo>
                  <a:lnTo>
                    <a:pt x="178" y="5182"/>
                  </a:lnTo>
                  <a:lnTo>
                    <a:pt x="191" y="5238"/>
                  </a:lnTo>
                  <a:lnTo>
                    <a:pt x="206" y="5298"/>
                  </a:lnTo>
                  <a:lnTo>
                    <a:pt x="225" y="5360"/>
                  </a:lnTo>
                  <a:lnTo>
                    <a:pt x="246" y="5424"/>
                  </a:lnTo>
                  <a:lnTo>
                    <a:pt x="272" y="5487"/>
                  </a:lnTo>
                  <a:lnTo>
                    <a:pt x="287" y="5519"/>
                  </a:lnTo>
                  <a:lnTo>
                    <a:pt x="302" y="5551"/>
                  </a:lnTo>
                  <a:lnTo>
                    <a:pt x="319" y="5581"/>
                  </a:lnTo>
                  <a:lnTo>
                    <a:pt x="336" y="5612"/>
                  </a:lnTo>
                  <a:lnTo>
                    <a:pt x="356" y="5643"/>
                  </a:lnTo>
                  <a:lnTo>
                    <a:pt x="375" y="5673"/>
                  </a:lnTo>
                  <a:lnTo>
                    <a:pt x="397" y="5702"/>
                  </a:lnTo>
                  <a:lnTo>
                    <a:pt x="420" y="5730"/>
                  </a:lnTo>
                  <a:lnTo>
                    <a:pt x="444" y="5758"/>
                  </a:lnTo>
                  <a:lnTo>
                    <a:pt x="468" y="5784"/>
                  </a:lnTo>
                  <a:lnTo>
                    <a:pt x="495" y="5810"/>
                  </a:lnTo>
                  <a:lnTo>
                    <a:pt x="523" y="5835"/>
                  </a:lnTo>
                  <a:lnTo>
                    <a:pt x="553" y="5858"/>
                  </a:lnTo>
                  <a:lnTo>
                    <a:pt x="584" y="5879"/>
                  </a:lnTo>
                  <a:lnTo>
                    <a:pt x="616" y="5900"/>
                  </a:lnTo>
                  <a:lnTo>
                    <a:pt x="650" y="5918"/>
                  </a:lnTo>
                  <a:lnTo>
                    <a:pt x="686" y="5936"/>
                  </a:lnTo>
                  <a:lnTo>
                    <a:pt x="723" y="5951"/>
                  </a:lnTo>
                  <a:lnTo>
                    <a:pt x="751" y="5963"/>
                  </a:lnTo>
                  <a:lnTo>
                    <a:pt x="779" y="5974"/>
                  </a:lnTo>
                  <a:lnTo>
                    <a:pt x="805" y="5983"/>
                  </a:lnTo>
                  <a:lnTo>
                    <a:pt x="830" y="5992"/>
                  </a:lnTo>
                  <a:lnTo>
                    <a:pt x="877" y="6009"/>
                  </a:lnTo>
                  <a:lnTo>
                    <a:pt x="922" y="6021"/>
                  </a:lnTo>
                  <a:lnTo>
                    <a:pt x="965" y="6032"/>
                  </a:lnTo>
                  <a:lnTo>
                    <a:pt x="1008" y="6039"/>
                  </a:lnTo>
                  <a:lnTo>
                    <a:pt x="1052" y="6043"/>
                  </a:lnTo>
                  <a:lnTo>
                    <a:pt x="1097" y="6045"/>
                  </a:lnTo>
                  <a:lnTo>
                    <a:pt x="1094" y="6086"/>
                  </a:lnTo>
                  <a:lnTo>
                    <a:pt x="1091" y="6129"/>
                  </a:lnTo>
                  <a:lnTo>
                    <a:pt x="1089" y="6173"/>
                  </a:lnTo>
                  <a:lnTo>
                    <a:pt x="1086" y="6218"/>
                  </a:lnTo>
                  <a:lnTo>
                    <a:pt x="1081" y="6311"/>
                  </a:lnTo>
                  <a:lnTo>
                    <a:pt x="1077" y="6408"/>
                  </a:lnTo>
                  <a:lnTo>
                    <a:pt x="1075" y="6507"/>
                  </a:lnTo>
                  <a:lnTo>
                    <a:pt x="1075" y="6609"/>
                  </a:lnTo>
                  <a:lnTo>
                    <a:pt x="1077" y="6714"/>
                  </a:lnTo>
                  <a:lnTo>
                    <a:pt x="1082" y="6821"/>
                  </a:lnTo>
                  <a:lnTo>
                    <a:pt x="1089" y="6928"/>
                  </a:lnTo>
                  <a:lnTo>
                    <a:pt x="1099" y="7035"/>
                  </a:lnTo>
                  <a:lnTo>
                    <a:pt x="1114" y="7143"/>
                  </a:lnTo>
                  <a:lnTo>
                    <a:pt x="1123" y="7197"/>
                  </a:lnTo>
                  <a:lnTo>
                    <a:pt x="1132" y="7250"/>
                  </a:lnTo>
                  <a:lnTo>
                    <a:pt x="1142" y="7304"/>
                  </a:lnTo>
                  <a:lnTo>
                    <a:pt x="1155" y="7356"/>
                  </a:lnTo>
                  <a:lnTo>
                    <a:pt x="1168" y="7410"/>
                  </a:lnTo>
                  <a:lnTo>
                    <a:pt x="1182" y="7461"/>
                  </a:lnTo>
                  <a:lnTo>
                    <a:pt x="1198" y="7514"/>
                  </a:lnTo>
                  <a:lnTo>
                    <a:pt x="1215" y="7564"/>
                  </a:lnTo>
                  <a:lnTo>
                    <a:pt x="1233" y="7616"/>
                  </a:lnTo>
                  <a:lnTo>
                    <a:pt x="1253" y="7665"/>
                  </a:lnTo>
                  <a:lnTo>
                    <a:pt x="1277" y="7727"/>
                  </a:lnTo>
                  <a:lnTo>
                    <a:pt x="1301" y="7789"/>
                  </a:lnTo>
                  <a:lnTo>
                    <a:pt x="1354" y="7912"/>
                  </a:lnTo>
                  <a:lnTo>
                    <a:pt x="1410" y="8037"/>
                  </a:lnTo>
                  <a:lnTo>
                    <a:pt x="1468" y="8161"/>
                  </a:lnTo>
                  <a:lnTo>
                    <a:pt x="1528" y="8282"/>
                  </a:lnTo>
                  <a:lnTo>
                    <a:pt x="1589" y="8402"/>
                  </a:lnTo>
                  <a:lnTo>
                    <a:pt x="1650" y="8518"/>
                  </a:lnTo>
                  <a:lnTo>
                    <a:pt x="1681" y="8576"/>
                  </a:lnTo>
                  <a:lnTo>
                    <a:pt x="1712" y="8631"/>
                  </a:lnTo>
                  <a:lnTo>
                    <a:pt x="1743" y="8686"/>
                  </a:lnTo>
                  <a:lnTo>
                    <a:pt x="1773" y="8741"/>
                  </a:lnTo>
                  <a:lnTo>
                    <a:pt x="1803" y="8793"/>
                  </a:lnTo>
                  <a:lnTo>
                    <a:pt x="1833" y="8844"/>
                  </a:lnTo>
                  <a:lnTo>
                    <a:pt x="1862" y="8893"/>
                  </a:lnTo>
                  <a:lnTo>
                    <a:pt x="1890" y="8941"/>
                  </a:lnTo>
                  <a:lnTo>
                    <a:pt x="1918" y="8988"/>
                  </a:lnTo>
                  <a:lnTo>
                    <a:pt x="1946" y="9033"/>
                  </a:lnTo>
                  <a:lnTo>
                    <a:pt x="1971" y="9075"/>
                  </a:lnTo>
                  <a:lnTo>
                    <a:pt x="1997" y="9117"/>
                  </a:lnTo>
                  <a:lnTo>
                    <a:pt x="2021" y="9156"/>
                  </a:lnTo>
                  <a:lnTo>
                    <a:pt x="2045" y="9193"/>
                  </a:lnTo>
                  <a:lnTo>
                    <a:pt x="2066" y="9227"/>
                  </a:lnTo>
                  <a:lnTo>
                    <a:pt x="2088" y="9260"/>
                  </a:lnTo>
                  <a:lnTo>
                    <a:pt x="2108" y="9290"/>
                  </a:lnTo>
                  <a:lnTo>
                    <a:pt x="2125" y="9317"/>
                  </a:lnTo>
                  <a:lnTo>
                    <a:pt x="2121" y="9342"/>
                  </a:lnTo>
                  <a:lnTo>
                    <a:pt x="2115" y="9371"/>
                  </a:lnTo>
                  <a:lnTo>
                    <a:pt x="2108" y="9404"/>
                  </a:lnTo>
                  <a:lnTo>
                    <a:pt x="2099" y="9439"/>
                  </a:lnTo>
                  <a:lnTo>
                    <a:pt x="2089" y="9477"/>
                  </a:lnTo>
                  <a:lnTo>
                    <a:pt x="2078" y="9518"/>
                  </a:lnTo>
                  <a:lnTo>
                    <a:pt x="2065" y="9562"/>
                  </a:lnTo>
                  <a:lnTo>
                    <a:pt x="2052" y="9607"/>
                  </a:lnTo>
                  <a:lnTo>
                    <a:pt x="2037" y="9653"/>
                  </a:lnTo>
                  <a:lnTo>
                    <a:pt x="2023" y="9703"/>
                  </a:lnTo>
                  <a:lnTo>
                    <a:pt x="2008" y="9752"/>
                  </a:lnTo>
                  <a:lnTo>
                    <a:pt x="1991" y="9804"/>
                  </a:lnTo>
                  <a:lnTo>
                    <a:pt x="1958" y="9908"/>
                  </a:lnTo>
                  <a:lnTo>
                    <a:pt x="1925" y="10014"/>
                  </a:lnTo>
                  <a:lnTo>
                    <a:pt x="1893" y="10119"/>
                  </a:lnTo>
                  <a:lnTo>
                    <a:pt x="1876" y="10170"/>
                  </a:lnTo>
                  <a:lnTo>
                    <a:pt x="1862" y="10221"/>
                  </a:lnTo>
                  <a:lnTo>
                    <a:pt x="1848" y="10270"/>
                  </a:lnTo>
                  <a:lnTo>
                    <a:pt x="1833" y="10319"/>
                  </a:lnTo>
                  <a:lnTo>
                    <a:pt x="1821" y="10365"/>
                  </a:lnTo>
                  <a:lnTo>
                    <a:pt x="1808" y="10409"/>
                  </a:lnTo>
                  <a:lnTo>
                    <a:pt x="1797" y="10452"/>
                  </a:lnTo>
                  <a:lnTo>
                    <a:pt x="1788" y="10492"/>
                  </a:lnTo>
                  <a:lnTo>
                    <a:pt x="1779" y="10528"/>
                  </a:lnTo>
                  <a:lnTo>
                    <a:pt x="1773" y="10562"/>
                  </a:lnTo>
                  <a:lnTo>
                    <a:pt x="1768" y="10593"/>
                  </a:lnTo>
                  <a:lnTo>
                    <a:pt x="1764" y="10620"/>
                  </a:lnTo>
                  <a:lnTo>
                    <a:pt x="1763" y="10644"/>
                  </a:lnTo>
                  <a:lnTo>
                    <a:pt x="1763" y="10654"/>
                  </a:lnTo>
                  <a:lnTo>
                    <a:pt x="1763" y="10664"/>
                  </a:lnTo>
                  <a:lnTo>
                    <a:pt x="1766" y="10683"/>
                  </a:lnTo>
                  <a:lnTo>
                    <a:pt x="1772" y="10704"/>
                  </a:lnTo>
                  <a:lnTo>
                    <a:pt x="1780" y="10724"/>
                  </a:lnTo>
                  <a:lnTo>
                    <a:pt x="1792" y="10745"/>
                  </a:lnTo>
                  <a:lnTo>
                    <a:pt x="1805" y="10766"/>
                  </a:lnTo>
                  <a:lnTo>
                    <a:pt x="1822" y="10786"/>
                  </a:lnTo>
                  <a:lnTo>
                    <a:pt x="1840" y="10807"/>
                  </a:lnTo>
                  <a:lnTo>
                    <a:pt x="1861" y="10829"/>
                  </a:lnTo>
                  <a:lnTo>
                    <a:pt x="1884" y="10849"/>
                  </a:lnTo>
                  <a:lnTo>
                    <a:pt x="1909" y="10870"/>
                  </a:lnTo>
                  <a:lnTo>
                    <a:pt x="1936" y="10891"/>
                  </a:lnTo>
                  <a:lnTo>
                    <a:pt x="1966" y="10912"/>
                  </a:lnTo>
                  <a:lnTo>
                    <a:pt x="1997" y="10933"/>
                  </a:lnTo>
                  <a:lnTo>
                    <a:pt x="2030" y="10954"/>
                  </a:lnTo>
                  <a:lnTo>
                    <a:pt x="2065" y="10975"/>
                  </a:lnTo>
                  <a:lnTo>
                    <a:pt x="2101" y="10995"/>
                  </a:lnTo>
                  <a:lnTo>
                    <a:pt x="2140" y="11015"/>
                  </a:lnTo>
                  <a:lnTo>
                    <a:pt x="2179" y="11036"/>
                  </a:lnTo>
                  <a:lnTo>
                    <a:pt x="2219" y="11055"/>
                  </a:lnTo>
                  <a:lnTo>
                    <a:pt x="2261" y="11076"/>
                  </a:lnTo>
                  <a:lnTo>
                    <a:pt x="2305" y="11095"/>
                  </a:lnTo>
                  <a:lnTo>
                    <a:pt x="2349" y="11114"/>
                  </a:lnTo>
                  <a:lnTo>
                    <a:pt x="2395" y="11133"/>
                  </a:lnTo>
                  <a:lnTo>
                    <a:pt x="2441" y="11152"/>
                  </a:lnTo>
                  <a:lnTo>
                    <a:pt x="2536" y="11188"/>
                  </a:lnTo>
                  <a:lnTo>
                    <a:pt x="2634" y="11223"/>
                  </a:lnTo>
                  <a:lnTo>
                    <a:pt x="2734" y="11256"/>
                  </a:lnTo>
                  <a:lnTo>
                    <a:pt x="2836" y="11287"/>
                  </a:lnTo>
                  <a:lnTo>
                    <a:pt x="2939" y="11316"/>
                  </a:lnTo>
                  <a:lnTo>
                    <a:pt x="3041" y="11342"/>
                  </a:lnTo>
                  <a:lnTo>
                    <a:pt x="3143" y="11367"/>
                  </a:lnTo>
                  <a:lnTo>
                    <a:pt x="3243" y="11389"/>
                  </a:lnTo>
                  <a:lnTo>
                    <a:pt x="3341" y="11407"/>
                  </a:lnTo>
                  <a:lnTo>
                    <a:pt x="3437" y="11424"/>
                  </a:lnTo>
                  <a:lnTo>
                    <a:pt x="3529" y="11436"/>
                  </a:lnTo>
                  <a:lnTo>
                    <a:pt x="3574" y="11441"/>
                  </a:lnTo>
                  <a:lnTo>
                    <a:pt x="3618" y="11445"/>
                  </a:lnTo>
                  <a:lnTo>
                    <a:pt x="3660" y="11449"/>
                  </a:lnTo>
                  <a:lnTo>
                    <a:pt x="3702" y="11452"/>
                  </a:lnTo>
                  <a:lnTo>
                    <a:pt x="3741" y="11453"/>
                  </a:lnTo>
                  <a:lnTo>
                    <a:pt x="3779" y="11453"/>
                  </a:lnTo>
                  <a:lnTo>
                    <a:pt x="3816" y="11453"/>
                  </a:lnTo>
                  <a:lnTo>
                    <a:pt x="3851" y="11452"/>
                  </a:lnTo>
                  <a:lnTo>
                    <a:pt x="3884" y="11449"/>
                  </a:lnTo>
                  <a:lnTo>
                    <a:pt x="3916" y="11445"/>
                  </a:lnTo>
                  <a:lnTo>
                    <a:pt x="3946" y="11440"/>
                  </a:lnTo>
                  <a:lnTo>
                    <a:pt x="3974" y="11435"/>
                  </a:lnTo>
                  <a:lnTo>
                    <a:pt x="4000" y="11428"/>
                  </a:lnTo>
                  <a:lnTo>
                    <a:pt x="4024" y="11420"/>
                  </a:lnTo>
                  <a:lnTo>
                    <a:pt x="4045" y="11410"/>
                  </a:lnTo>
                  <a:lnTo>
                    <a:pt x="4064" y="11400"/>
                  </a:lnTo>
                  <a:lnTo>
                    <a:pt x="4080" y="11389"/>
                  </a:lnTo>
                  <a:lnTo>
                    <a:pt x="4095" y="11376"/>
                  </a:lnTo>
                  <a:lnTo>
                    <a:pt x="4122" y="11347"/>
                  </a:lnTo>
                  <a:lnTo>
                    <a:pt x="4147" y="11317"/>
                  </a:lnTo>
                  <a:lnTo>
                    <a:pt x="4170" y="11287"/>
                  </a:lnTo>
                  <a:lnTo>
                    <a:pt x="4192" y="11256"/>
                  </a:lnTo>
                  <a:lnTo>
                    <a:pt x="4213" y="11224"/>
                  </a:lnTo>
                  <a:lnTo>
                    <a:pt x="4232" y="11192"/>
                  </a:lnTo>
                  <a:lnTo>
                    <a:pt x="4250" y="11159"/>
                  </a:lnTo>
                  <a:lnTo>
                    <a:pt x="4266" y="11126"/>
                  </a:lnTo>
                  <a:lnTo>
                    <a:pt x="4282" y="11093"/>
                  </a:lnTo>
                  <a:lnTo>
                    <a:pt x="4296" y="11060"/>
                  </a:lnTo>
                  <a:lnTo>
                    <a:pt x="4309" y="11027"/>
                  </a:lnTo>
                  <a:lnTo>
                    <a:pt x="4321" y="10994"/>
                  </a:lnTo>
                  <a:lnTo>
                    <a:pt x="4331" y="10961"/>
                  </a:lnTo>
                  <a:lnTo>
                    <a:pt x="4341" y="10928"/>
                  </a:lnTo>
                  <a:lnTo>
                    <a:pt x="4358" y="10862"/>
                  </a:lnTo>
                  <a:lnTo>
                    <a:pt x="4371" y="10799"/>
                  </a:lnTo>
                  <a:lnTo>
                    <a:pt x="4381" y="10737"/>
                  </a:lnTo>
                  <a:lnTo>
                    <a:pt x="4389" y="10677"/>
                  </a:lnTo>
                  <a:lnTo>
                    <a:pt x="4394" y="10621"/>
                  </a:lnTo>
                  <a:lnTo>
                    <a:pt x="4396" y="10595"/>
                  </a:lnTo>
                  <a:lnTo>
                    <a:pt x="4397" y="10569"/>
                  </a:lnTo>
                  <a:lnTo>
                    <a:pt x="4398" y="10544"/>
                  </a:lnTo>
                  <a:lnTo>
                    <a:pt x="4399" y="10521"/>
                  </a:lnTo>
                  <a:lnTo>
                    <a:pt x="4400" y="10498"/>
                  </a:lnTo>
                  <a:lnTo>
                    <a:pt x="4400" y="10477"/>
                  </a:lnTo>
                  <a:lnTo>
                    <a:pt x="4400" y="10458"/>
                  </a:lnTo>
                  <a:lnTo>
                    <a:pt x="4400" y="10439"/>
                  </a:lnTo>
                  <a:lnTo>
                    <a:pt x="4400" y="10376"/>
                  </a:lnTo>
                  <a:lnTo>
                    <a:pt x="4405" y="10369"/>
                  </a:lnTo>
                  <a:lnTo>
                    <a:pt x="4410" y="10359"/>
                  </a:lnTo>
                  <a:lnTo>
                    <a:pt x="4416" y="10346"/>
                  </a:lnTo>
                  <a:lnTo>
                    <a:pt x="4423" y="10332"/>
                  </a:lnTo>
                  <a:lnTo>
                    <a:pt x="4431" y="10315"/>
                  </a:lnTo>
                  <a:lnTo>
                    <a:pt x="4441" y="10295"/>
                  </a:lnTo>
                  <a:lnTo>
                    <a:pt x="4451" y="10274"/>
                  </a:lnTo>
                  <a:lnTo>
                    <a:pt x="4462" y="10251"/>
                  </a:lnTo>
                  <a:lnTo>
                    <a:pt x="4474" y="10227"/>
                  </a:lnTo>
                  <a:lnTo>
                    <a:pt x="4487" y="10200"/>
                  </a:lnTo>
                  <a:lnTo>
                    <a:pt x="4500" y="10173"/>
                  </a:lnTo>
                  <a:lnTo>
                    <a:pt x="4513" y="10146"/>
                  </a:lnTo>
                  <a:lnTo>
                    <a:pt x="4540" y="10087"/>
                  </a:lnTo>
                  <a:lnTo>
                    <a:pt x="4568" y="10026"/>
                  </a:lnTo>
                  <a:lnTo>
                    <a:pt x="4596" y="9964"/>
                  </a:lnTo>
                  <a:lnTo>
                    <a:pt x="4621" y="9904"/>
                  </a:lnTo>
                  <a:lnTo>
                    <a:pt x="4646" y="9845"/>
                  </a:lnTo>
                  <a:lnTo>
                    <a:pt x="4658" y="9817"/>
                  </a:lnTo>
                  <a:lnTo>
                    <a:pt x="4668" y="9789"/>
                  </a:lnTo>
                  <a:lnTo>
                    <a:pt x="4677" y="9763"/>
                  </a:lnTo>
                  <a:lnTo>
                    <a:pt x="4686" y="9739"/>
                  </a:lnTo>
                  <a:lnTo>
                    <a:pt x="4694" y="9716"/>
                  </a:lnTo>
                  <a:lnTo>
                    <a:pt x="4700" y="9694"/>
                  </a:lnTo>
                  <a:lnTo>
                    <a:pt x="4705" y="9675"/>
                  </a:lnTo>
                  <a:lnTo>
                    <a:pt x="4709" y="9657"/>
                  </a:lnTo>
                  <a:lnTo>
                    <a:pt x="4711" y="9642"/>
                  </a:lnTo>
                  <a:lnTo>
                    <a:pt x="4712" y="9628"/>
                  </a:lnTo>
                  <a:lnTo>
                    <a:pt x="4713" y="9604"/>
                  </a:lnTo>
                  <a:lnTo>
                    <a:pt x="4717" y="9576"/>
                  </a:lnTo>
                  <a:lnTo>
                    <a:pt x="4722" y="9546"/>
                  </a:lnTo>
                  <a:lnTo>
                    <a:pt x="4728" y="9512"/>
                  </a:lnTo>
                  <a:lnTo>
                    <a:pt x="4734" y="9476"/>
                  </a:lnTo>
                  <a:lnTo>
                    <a:pt x="4739" y="9436"/>
                  </a:lnTo>
                  <a:lnTo>
                    <a:pt x="4742" y="9394"/>
                  </a:lnTo>
                  <a:lnTo>
                    <a:pt x="4743" y="9348"/>
                  </a:lnTo>
                  <a:lnTo>
                    <a:pt x="4779" y="9366"/>
                  </a:lnTo>
                  <a:lnTo>
                    <a:pt x="4816" y="9382"/>
                  </a:lnTo>
                  <a:lnTo>
                    <a:pt x="4855" y="9398"/>
                  </a:lnTo>
                  <a:lnTo>
                    <a:pt x="4894" y="9412"/>
                  </a:lnTo>
                  <a:lnTo>
                    <a:pt x="4935" y="9426"/>
                  </a:lnTo>
                  <a:lnTo>
                    <a:pt x="4976" y="9439"/>
                  </a:lnTo>
                  <a:lnTo>
                    <a:pt x="5020" y="9450"/>
                  </a:lnTo>
                  <a:lnTo>
                    <a:pt x="5063" y="9462"/>
                  </a:lnTo>
                  <a:lnTo>
                    <a:pt x="5107" y="9471"/>
                  </a:lnTo>
                  <a:lnTo>
                    <a:pt x="5152" y="9479"/>
                  </a:lnTo>
                  <a:lnTo>
                    <a:pt x="5197" y="9486"/>
                  </a:lnTo>
                  <a:lnTo>
                    <a:pt x="5243" y="9493"/>
                  </a:lnTo>
                  <a:lnTo>
                    <a:pt x="5289" y="9498"/>
                  </a:lnTo>
                  <a:lnTo>
                    <a:pt x="5336" y="9502"/>
                  </a:lnTo>
                  <a:lnTo>
                    <a:pt x="5382" y="9504"/>
                  </a:lnTo>
                  <a:lnTo>
                    <a:pt x="5429" y="9504"/>
                  </a:lnTo>
                  <a:lnTo>
                    <a:pt x="5406" y="9540"/>
                  </a:lnTo>
                  <a:lnTo>
                    <a:pt x="5382" y="9575"/>
                  </a:lnTo>
                  <a:lnTo>
                    <a:pt x="5361" y="9613"/>
                  </a:lnTo>
                  <a:lnTo>
                    <a:pt x="5340" y="9652"/>
                  </a:lnTo>
                  <a:lnTo>
                    <a:pt x="5320" y="9694"/>
                  </a:lnTo>
                  <a:lnTo>
                    <a:pt x="5311" y="9717"/>
                  </a:lnTo>
                  <a:lnTo>
                    <a:pt x="5302" y="9741"/>
                  </a:lnTo>
                  <a:lnTo>
                    <a:pt x="5293" y="9765"/>
                  </a:lnTo>
                  <a:lnTo>
                    <a:pt x="5286" y="9791"/>
                  </a:lnTo>
                  <a:lnTo>
                    <a:pt x="5279" y="9819"/>
                  </a:lnTo>
                  <a:lnTo>
                    <a:pt x="5273" y="9847"/>
                  </a:lnTo>
                  <a:lnTo>
                    <a:pt x="5269" y="9894"/>
                  </a:lnTo>
                  <a:lnTo>
                    <a:pt x="5268" y="9942"/>
                  </a:lnTo>
                  <a:lnTo>
                    <a:pt x="5270" y="9991"/>
                  </a:lnTo>
                  <a:lnTo>
                    <a:pt x="5274" y="10041"/>
                  </a:lnTo>
                  <a:lnTo>
                    <a:pt x="5282" y="10091"/>
                  </a:lnTo>
                  <a:lnTo>
                    <a:pt x="5294" y="10142"/>
                  </a:lnTo>
                  <a:lnTo>
                    <a:pt x="5309" y="10195"/>
                  </a:lnTo>
                  <a:lnTo>
                    <a:pt x="5327" y="10249"/>
                  </a:lnTo>
                  <a:lnTo>
                    <a:pt x="5350" y="10303"/>
                  </a:lnTo>
                  <a:lnTo>
                    <a:pt x="5376" y="10359"/>
                  </a:lnTo>
                  <a:lnTo>
                    <a:pt x="5406" y="10415"/>
                  </a:lnTo>
                  <a:lnTo>
                    <a:pt x="5440" y="10473"/>
                  </a:lnTo>
                  <a:lnTo>
                    <a:pt x="5477" y="10533"/>
                  </a:lnTo>
                  <a:lnTo>
                    <a:pt x="5498" y="10564"/>
                  </a:lnTo>
                  <a:lnTo>
                    <a:pt x="5519" y="10594"/>
                  </a:lnTo>
                  <a:lnTo>
                    <a:pt x="5542" y="10625"/>
                  </a:lnTo>
                  <a:lnTo>
                    <a:pt x="5565" y="10656"/>
                  </a:lnTo>
                  <a:lnTo>
                    <a:pt x="5590" y="10687"/>
                  </a:lnTo>
                  <a:lnTo>
                    <a:pt x="5616" y="10719"/>
                  </a:lnTo>
                  <a:lnTo>
                    <a:pt x="5651" y="10763"/>
                  </a:lnTo>
                  <a:lnTo>
                    <a:pt x="5685" y="10805"/>
                  </a:lnTo>
                  <a:lnTo>
                    <a:pt x="5718" y="10846"/>
                  </a:lnTo>
                  <a:lnTo>
                    <a:pt x="5751" y="10886"/>
                  </a:lnTo>
                  <a:lnTo>
                    <a:pt x="5783" y="10924"/>
                  </a:lnTo>
                  <a:lnTo>
                    <a:pt x="5815" y="10962"/>
                  </a:lnTo>
                  <a:lnTo>
                    <a:pt x="5846" y="10998"/>
                  </a:lnTo>
                  <a:lnTo>
                    <a:pt x="5877" y="11033"/>
                  </a:lnTo>
                  <a:lnTo>
                    <a:pt x="5907" y="11067"/>
                  </a:lnTo>
                  <a:lnTo>
                    <a:pt x="5937" y="11100"/>
                  </a:lnTo>
                  <a:lnTo>
                    <a:pt x="5966" y="11131"/>
                  </a:lnTo>
                  <a:lnTo>
                    <a:pt x="5995" y="11162"/>
                  </a:lnTo>
                  <a:lnTo>
                    <a:pt x="6024" y="11190"/>
                  </a:lnTo>
                  <a:lnTo>
                    <a:pt x="6053" y="11218"/>
                  </a:lnTo>
                  <a:lnTo>
                    <a:pt x="6082" y="11244"/>
                  </a:lnTo>
                  <a:lnTo>
                    <a:pt x="6111" y="11269"/>
                  </a:lnTo>
                  <a:lnTo>
                    <a:pt x="6139" y="11292"/>
                  </a:lnTo>
                  <a:lnTo>
                    <a:pt x="6168" y="11315"/>
                  </a:lnTo>
                  <a:lnTo>
                    <a:pt x="6196" y="11335"/>
                  </a:lnTo>
                  <a:lnTo>
                    <a:pt x="6225" y="11354"/>
                  </a:lnTo>
                  <a:lnTo>
                    <a:pt x="6252" y="11372"/>
                  </a:lnTo>
                  <a:lnTo>
                    <a:pt x="6281" y="11388"/>
                  </a:lnTo>
                  <a:lnTo>
                    <a:pt x="6310" y="11403"/>
                  </a:lnTo>
                  <a:lnTo>
                    <a:pt x="6339" y="11417"/>
                  </a:lnTo>
                  <a:lnTo>
                    <a:pt x="6368" y="11428"/>
                  </a:lnTo>
                  <a:lnTo>
                    <a:pt x="6398" y="11438"/>
                  </a:lnTo>
                  <a:lnTo>
                    <a:pt x="6427" y="11448"/>
                  </a:lnTo>
                  <a:lnTo>
                    <a:pt x="6458" y="11455"/>
                  </a:lnTo>
                  <a:lnTo>
                    <a:pt x="6488" y="11460"/>
                  </a:lnTo>
                  <a:lnTo>
                    <a:pt x="6519" y="11464"/>
                  </a:lnTo>
                  <a:lnTo>
                    <a:pt x="6550" y="11466"/>
                  </a:lnTo>
                  <a:lnTo>
                    <a:pt x="6582" y="11467"/>
                  </a:lnTo>
                  <a:lnTo>
                    <a:pt x="6628" y="11466"/>
                  </a:lnTo>
                  <a:lnTo>
                    <a:pt x="6674" y="11460"/>
                  </a:lnTo>
                  <a:lnTo>
                    <a:pt x="6719" y="11452"/>
                  </a:lnTo>
                  <a:lnTo>
                    <a:pt x="6763" y="11440"/>
                  </a:lnTo>
                  <a:lnTo>
                    <a:pt x="6807" y="11427"/>
                  </a:lnTo>
                  <a:lnTo>
                    <a:pt x="6849" y="11410"/>
                  </a:lnTo>
                  <a:lnTo>
                    <a:pt x="6891" y="11391"/>
                  </a:lnTo>
                  <a:lnTo>
                    <a:pt x="6933" y="11370"/>
                  </a:lnTo>
                  <a:lnTo>
                    <a:pt x="6973" y="11348"/>
                  </a:lnTo>
                  <a:lnTo>
                    <a:pt x="7013" y="11323"/>
                  </a:lnTo>
                  <a:lnTo>
                    <a:pt x="7052" y="11297"/>
                  </a:lnTo>
                  <a:lnTo>
                    <a:pt x="7091" y="11270"/>
                  </a:lnTo>
                  <a:lnTo>
                    <a:pt x="7165" y="11214"/>
                  </a:lnTo>
                  <a:lnTo>
                    <a:pt x="7236" y="11156"/>
                  </a:lnTo>
                  <a:lnTo>
                    <a:pt x="7271" y="11131"/>
                  </a:lnTo>
                  <a:lnTo>
                    <a:pt x="7306" y="11105"/>
                  </a:lnTo>
                  <a:lnTo>
                    <a:pt x="7342" y="11076"/>
                  </a:lnTo>
                  <a:lnTo>
                    <a:pt x="7377" y="11047"/>
                  </a:lnTo>
                  <a:lnTo>
                    <a:pt x="7412" y="11018"/>
                  </a:lnTo>
                  <a:lnTo>
                    <a:pt x="7447" y="10989"/>
                  </a:lnTo>
                  <a:lnTo>
                    <a:pt x="7482" y="10962"/>
                  </a:lnTo>
                  <a:lnTo>
                    <a:pt x="7517" y="10938"/>
                  </a:lnTo>
                  <a:lnTo>
                    <a:pt x="7658" y="10820"/>
                  </a:lnTo>
                  <a:lnTo>
                    <a:pt x="7802" y="10703"/>
                  </a:lnTo>
                  <a:lnTo>
                    <a:pt x="7944" y="10583"/>
                  </a:lnTo>
                  <a:lnTo>
                    <a:pt x="8086" y="10462"/>
                  </a:lnTo>
                  <a:lnTo>
                    <a:pt x="8156" y="10401"/>
                  </a:lnTo>
                  <a:lnTo>
                    <a:pt x="8224" y="10338"/>
                  </a:lnTo>
                  <a:lnTo>
                    <a:pt x="8292" y="10274"/>
                  </a:lnTo>
                  <a:lnTo>
                    <a:pt x="8358" y="10210"/>
                  </a:lnTo>
                  <a:lnTo>
                    <a:pt x="8423" y="10145"/>
                  </a:lnTo>
                  <a:lnTo>
                    <a:pt x="8487" y="10078"/>
                  </a:lnTo>
                  <a:lnTo>
                    <a:pt x="8548" y="10010"/>
                  </a:lnTo>
                  <a:lnTo>
                    <a:pt x="8608" y="9941"/>
                  </a:lnTo>
                  <a:lnTo>
                    <a:pt x="8623" y="9921"/>
                  </a:lnTo>
                  <a:lnTo>
                    <a:pt x="8638" y="9900"/>
                  </a:lnTo>
                  <a:lnTo>
                    <a:pt x="8653" y="9878"/>
                  </a:lnTo>
                  <a:lnTo>
                    <a:pt x="8668" y="9855"/>
                  </a:lnTo>
                  <a:lnTo>
                    <a:pt x="8685" y="9831"/>
                  </a:lnTo>
                  <a:lnTo>
                    <a:pt x="8700" y="9807"/>
                  </a:lnTo>
                  <a:lnTo>
                    <a:pt x="8733" y="9754"/>
                  </a:lnTo>
                  <a:lnTo>
                    <a:pt x="8766" y="9698"/>
                  </a:lnTo>
                  <a:lnTo>
                    <a:pt x="8799" y="9638"/>
                  </a:lnTo>
                  <a:lnTo>
                    <a:pt x="8834" y="9575"/>
                  </a:lnTo>
                  <a:lnTo>
                    <a:pt x="8868" y="9510"/>
                  </a:lnTo>
                  <a:lnTo>
                    <a:pt x="8903" y="9442"/>
                  </a:lnTo>
                  <a:lnTo>
                    <a:pt x="8939" y="9372"/>
                  </a:lnTo>
                  <a:lnTo>
                    <a:pt x="8975" y="9300"/>
                  </a:lnTo>
                  <a:lnTo>
                    <a:pt x="9010" y="9227"/>
                  </a:lnTo>
                  <a:lnTo>
                    <a:pt x="9045" y="9153"/>
                  </a:lnTo>
                  <a:lnTo>
                    <a:pt x="9080" y="9076"/>
                  </a:lnTo>
                  <a:lnTo>
                    <a:pt x="9149" y="8924"/>
                  </a:lnTo>
                  <a:lnTo>
                    <a:pt x="9217" y="8770"/>
                  </a:lnTo>
                  <a:lnTo>
                    <a:pt x="9250" y="8694"/>
                  </a:lnTo>
                  <a:lnTo>
                    <a:pt x="9282" y="8619"/>
                  </a:lnTo>
                  <a:lnTo>
                    <a:pt x="9313" y="8545"/>
                  </a:lnTo>
                  <a:lnTo>
                    <a:pt x="9343" y="8473"/>
                  </a:lnTo>
                  <a:lnTo>
                    <a:pt x="9373" y="8402"/>
                  </a:lnTo>
                  <a:lnTo>
                    <a:pt x="9401" y="8333"/>
                  </a:lnTo>
                  <a:lnTo>
                    <a:pt x="9428" y="8266"/>
                  </a:lnTo>
                  <a:lnTo>
                    <a:pt x="9454" y="8201"/>
                  </a:lnTo>
                  <a:lnTo>
                    <a:pt x="9477" y="8139"/>
                  </a:lnTo>
                  <a:lnTo>
                    <a:pt x="9500" y="8081"/>
                  </a:lnTo>
                  <a:lnTo>
                    <a:pt x="9522" y="8026"/>
                  </a:lnTo>
                  <a:lnTo>
                    <a:pt x="9540" y="7974"/>
                  </a:lnTo>
                  <a:lnTo>
                    <a:pt x="9550" y="7951"/>
                  </a:lnTo>
                  <a:lnTo>
                    <a:pt x="9558" y="7927"/>
                  </a:lnTo>
                  <a:lnTo>
                    <a:pt x="9566" y="7905"/>
                  </a:lnTo>
                  <a:lnTo>
                    <a:pt x="9573" y="7884"/>
                  </a:lnTo>
                  <a:lnTo>
                    <a:pt x="9644" y="7942"/>
                  </a:lnTo>
                  <a:lnTo>
                    <a:pt x="9714" y="7999"/>
                  </a:lnTo>
                  <a:lnTo>
                    <a:pt x="9784" y="8055"/>
                  </a:lnTo>
                  <a:lnTo>
                    <a:pt x="9819" y="8080"/>
                  </a:lnTo>
                  <a:lnTo>
                    <a:pt x="9854" y="8106"/>
                  </a:lnTo>
                  <a:lnTo>
                    <a:pt x="9889" y="8130"/>
                  </a:lnTo>
                  <a:lnTo>
                    <a:pt x="9924" y="8153"/>
                  </a:lnTo>
                  <a:lnTo>
                    <a:pt x="9960" y="8175"/>
                  </a:lnTo>
                  <a:lnTo>
                    <a:pt x="9995" y="8195"/>
                  </a:lnTo>
                  <a:lnTo>
                    <a:pt x="10030" y="8213"/>
                  </a:lnTo>
                  <a:lnTo>
                    <a:pt x="10065" y="8231"/>
                  </a:lnTo>
                  <a:lnTo>
                    <a:pt x="10100" y="8245"/>
                  </a:lnTo>
                  <a:lnTo>
                    <a:pt x="10135" y="8258"/>
                  </a:lnTo>
                  <a:lnTo>
                    <a:pt x="10205" y="8281"/>
                  </a:lnTo>
                  <a:lnTo>
                    <a:pt x="10274" y="8304"/>
                  </a:lnTo>
                  <a:lnTo>
                    <a:pt x="10344" y="8324"/>
                  </a:lnTo>
                  <a:lnTo>
                    <a:pt x="10412" y="8343"/>
                  </a:lnTo>
                  <a:lnTo>
                    <a:pt x="10478" y="8359"/>
                  </a:lnTo>
                  <a:lnTo>
                    <a:pt x="10511" y="8366"/>
                  </a:lnTo>
                  <a:lnTo>
                    <a:pt x="10543" y="8372"/>
                  </a:lnTo>
                  <a:lnTo>
                    <a:pt x="10574" y="8376"/>
                  </a:lnTo>
                  <a:lnTo>
                    <a:pt x="10605" y="8380"/>
                  </a:lnTo>
                  <a:lnTo>
                    <a:pt x="10636" y="8382"/>
                  </a:lnTo>
                  <a:lnTo>
                    <a:pt x="10665" y="8382"/>
                  </a:lnTo>
                  <a:lnTo>
                    <a:pt x="10706" y="8382"/>
                  </a:lnTo>
                  <a:lnTo>
                    <a:pt x="10745" y="8380"/>
                  </a:lnTo>
                  <a:lnTo>
                    <a:pt x="10785" y="8377"/>
                  </a:lnTo>
                  <a:lnTo>
                    <a:pt x="10825" y="8372"/>
                  </a:lnTo>
                  <a:lnTo>
                    <a:pt x="10863" y="8367"/>
                  </a:lnTo>
                  <a:lnTo>
                    <a:pt x="10901" y="8359"/>
                  </a:lnTo>
                  <a:lnTo>
                    <a:pt x="10938" y="8351"/>
                  </a:lnTo>
                  <a:lnTo>
                    <a:pt x="10975" y="8342"/>
                  </a:lnTo>
                  <a:lnTo>
                    <a:pt x="11011" y="8331"/>
                  </a:lnTo>
                  <a:lnTo>
                    <a:pt x="11048" y="8318"/>
                  </a:lnTo>
                  <a:lnTo>
                    <a:pt x="11083" y="8305"/>
                  </a:lnTo>
                  <a:lnTo>
                    <a:pt x="11118" y="8290"/>
                  </a:lnTo>
                  <a:lnTo>
                    <a:pt x="11152" y="8274"/>
                  </a:lnTo>
                  <a:lnTo>
                    <a:pt x="11186" y="8258"/>
                  </a:lnTo>
                  <a:lnTo>
                    <a:pt x="11220" y="8239"/>
                  </a:lnTo>
                  <a:lnTo>
                    <a:pt x="11253" y="8218"/>
                  </a:lnTo>
                  <a:lnTo>
                    <a:pt x="11286" y="8198"/>
                  </a:lnTo>
                  <a:lnTo>
                    <a:pt x="11318" y="8175"/>
                  </a:lnTo>
                  <a:lnTo>
                    <a:pt x="11349" y="8151"/>
                  </a:lnTo>
                  <a:lnTo>
                    <a:pt x="11381" y="8127"/>
                  </a:lnTo>
                  <a:lnTo>
                    <a:pt x="11412" y="8101"/>
                  </a:lnTo>
                  <a:lnTo>
                    <a:pt x="11442" y="8073"/>
                  </a:lnTo>
                  <a:lnTo>
                    <a:pt x="11472" y="8044"/>
                  </a:lnTo>
                  <a:lnTo>
                    <a:pt x="11502" y="8014"/>
                  </a:lnTo>
                  <a:lnTo>
                    <a:pt x="11531" y="7982"/>
                  </a:lnTo>
                  <a:lnTo>
                    <a:pt x="11560" y="7951"/>
                  </a:lnTo>
                  <a:lnTo>
                    <a:pt x="11587" y="7917"/>
                  </a:lnTo>
                  <a:lnTo>
                    <a:pt x="11616" y="7882"/>
                  </a:lnTo>
                  <a:lnTo>
                    <a:pt x="11643" y="7844"/>
                  </a:lnTo>
                  <a:lnTo>
                    <a:pt x="11671" y="7807"/>
                  </a:lnTo>
                  <a:lnTo>
                    <a:pt x="11698" y="7768"/>
                  </a:lnTo>
                  <a:lnTo>
                    <a:pt x="11724" y="7728"/>
                  </a:lnTo>
                  <a:lnTo>
                    <a:pt x="11746" y="7693"/>
                  </a:lnTo>
                  <a:lnTo>
                    <a:pt x="11768" y="7658"/>
                  </a:lnTo>
                  <a:lnTo>
                    <a:pt x="11788" y="7623"/>
                  </a:lnTo>
                  <a:lnTo>
                    <a:pt x="11806" y="7589"/>
                  </a:lnTo>
                  <a:lnTo>
                    <a:pt x="11824" y="7555"/>
                  </a:lnTo>
                  <a:lnTo>
                    <a:pt x="11839" y="7522"/>
                  </a:lnTo>
                  <a:lnTo>
                    <a:pt x="11855" y="7490"/>
                  </a:lnTo>
                  <a:lnTo>
                    <a:pt x="11868" y="7459"/>
                  </a:lnTo>
                  <a:lnTo>
                    <a:pt x="11881" y="7429"/>
                  </a:lnTo>
                  <a:lnTo>
                    <a:pt x="11893" y="7401"/>
                  </a:lnTo>
                  <a:lnTo>
                    <a:pt x="11903" y="7373"/>
                  </a:lnTo>
                  <a:lnTo>
                    <a:pt x="11913" y="7347"/>
                  </a:lnTo>
                  <a:lnTo>
                    <a:pt x="11921" y="7322"/>
                  </a:lnTo>
                  <a:lnTo>
                    <a:pt x="11929" y="7300"/>
                  </a:lnTo>
                  <a:lnTo>
                    <a:pt x="11936" y="7279"/>
                  </a:lnTo>
                  <a:lnTo>
                    <a:pt x="11943" y="7260"/>
                  </a:lnTo>
                  <a:lnTo>
                    <a:pt x="12038" y="7282"/>
                  </a:lnTo>
                  <a:lnTo>
                    <a:pt x="12135" y="7302"/>
                  </a:lnTo>
                  <a:lnTo>
                    <a:pt x="12235" y="7317"/>
                  </a:lnTo>
                  <a:lnTo>
                    <a:pt x="12336" y="7330"/>
                  </a:lnTo>
                  <a:lnTo>
                    <a:pt x="12439" y="7341"/>
                  </a:lnTo>
                  <a:lnTo>
                    <a:pt x="12543" y="7348"/>
                  </a:lnTo>
                  <a:lnTo>
                    <a:pt x="12648" y="7352"/>
                  </a:lnTo>
                  <a:lnTo>
                    <a:pt x="12753" y="7354"/>
                  </a:lnTo>
                  <a:lnTo>
                    <a:pt x="12846" y="7354"/>
                  </a:lnTo>
                  <a:lnTo>
                    <a:pt x="12899" y="7353"/>
                  </a:lnTo>
                  <a:lnTo>
                    <a:pt x="12951" y="7351"/>
                  </a:lnTo>
                  <a:lnTo>
                    <a:pt x="13004" y="7347"/>
                  </a:lnTo>
                  <a:lnTo>
                    <a:pt x="13056" y="7341"/>
                  </a:lnTo>
                  <a:lnTo>
                    <a:pt x="13109" y="7334"/>
                  </a:lnTo>
                  <a:lnTo>
                    <a:pt x="13161" y="7324"/>
                  </a:lnTo>
                  <a:lnTo>
                    <a:pt x="13213" y="7314"/>
                  </a:lnTo>
                  <a:lnTo>
                    <a:pt x="13265" y="7303"/>
                  </a:lnTo>
                  <a:lnTo>
                    <a:pt x="13318" y="7288"/>
                  </a:lnTo>
                  <a:lnTo>
                    <a:pt x="13369" y="7274"/>
                  </a:lnTo>
                  <a:lnTo>
                    <a:pt x="13421" y="7257"/>
                  </a:lnTo>
                  <a:lnTo>
                    <a:pt x="13472" y="7239"/>
                  </a:lnTo>
                  <a:lnTo>
                    <a:pt x="13524" y="7219"/>
                  </a:lnTo>
                  <a:lnTo>
                    <a:pt x="13575" y="7198"/>
                  </a:lnTo>
                  <a:lnTo>
                    <a:pt x="13625" y="7175"/>
                  </a:lnTo>
                  <a:lnTo>
                    <a:pt x="13676" y="7151"/>
                  </a:lnTo>
                  <a:lnTo>
                    <a:pt x="13726" y="7125"/>
                  </a:lnTo>
                  <a:lnTo>
                    <a:pt x="13776" y="7099"/>
                  </a:lnTo>
                  <a:lnTo>
                    <a:pt x="13826" y="7070"/>
                  </a:lnTo>
                  <a:lnTo>
                    <a:pt x="13875" y="7040"/>
                  </a:lnTo>
                  <a:lnTo>
                    <a:pt x="13925" y="7009"/>
                  </a:lnTo>
                  <a:lnTo>
                    <a:pt x="13973" y="6976"/>
                  </a:lnTo>
                  <a:lnTo>
                    <a:pt x="14022" y="6942"/>
                  </a:lnTo>
                  <a:lnTo>
                    <a:pt x="14069" y="6907"/>
                  </a:lnTo>
                  <a:lnTo>
                    <a:pt x="14117" y="6870"/>
                  </a:lnTo>
                  <a:lnTo>
                    <a:pt x="14164" y="6832"/>
                  </a:lnTo>
                  <a:lnTo>
                    <a:pt x="14211" y="6792"/>
                  </a:lnTo>
                  <a:lnTo>
                    <a:pt x="14256" y="6752"/>
                  </a:lnTo>
                  <a:lnTo>
                    <a:pt x="14302" y="6709"/>
                  </a:lnTo>
                  <a:lnTo>
                    <a:pt x="14347" y="6666"/>
                  </a:lnTo>
                  <a:lnTo>
                    <a:pt x="14392" y="6621"/>
                  </a:lnTo>
                  <a:lnTo>
                    <a:pt x="14436" y="6574"/>
                  </a:lnTo>
                  <a:lnTo>
                    <a:pt x="14502" y="6500"/>
                  </a:lnTo>
                  <a:lnTo>
                    <a:pt x="14566" y="6424"/>
                  </a:lnTo>
                  <a:lnTo>
                    <a:pt x="14629" y="6345"/>
                  </a:lnTo>
                  <a:lnTo>
                    <a:pt x="14689" y="6264"/>
                  </a:lnTo>
                  <a:lnTo>
                    <a:pt x="14746" y="6181"/>
                  </a:lnTo>
                  <a:lnTo>
                    <a:pt x="14802" y="6095"/>
                  </a:lnTo>
                  <a:lnTo>
                    <a:pt x="14856" y="6008"/>
                  </a:lnTo>
                  <a:lnTo>
                    <a:pt x="14907" y="5918"/>
                  </a:lnTo>
                  <a:lnTo>
                    <a:pt x="14957" y="5826"/>
                  </a:lnTo>
                  <a:lnTo>
                    <a:pt x="15004" y="5732"/>
                  </a:lnTo>
                  <a:lnTo>
                    <a:pt x="15050" y="5636"/>
                  </a:lnTo>
                  <a:lnTo>
                    <a:pt x="15092" y="5539"/>
                  </a:lnTo>
                  <a:lnTo>
                    <a:pt x="15133" y="5439"/>
                  </a:lnTo>
                  <a:lnTo>
                    <a:pt x="15172" y="5337"/>
                  </a:lnTo>
                  <a:lnTo>
                    <a:pt x="15208" y="5234"/>
                  </a:lnTo>
                  <a:lnTo>
                    <a:pt x="15242" y="5129"/>
                  </a:lnTo>
                  <a:lnTo>
                    <a:pt x="15274" y="5023"/>
                  </a:lnTo>
                  <a:lnTo>
                    <a:pt x="15303" y="4914"/>
                  </a:lnTo>
                  <a:lnTo>
                    <a:pt x="15331" y="4804"/>
                  </a:lnTo>
                  <a:lnTo>
                    <a:pt x="15355" y="4693"/>
                  </a:lnTo>
                  <a:lnTo>
                    <a:pt x="15377" y="4579"/>
                  </a:lnTo>
                  <a:lnTo>
                    <a:pt x="15398" y="4464"/>
                  </a:lnTo>
                  <a:lnTo>
                    <a:pt x="15415" y="4348"/>
                  </a:lnTo>
                  <a:lnTo>
                    <a:pt x="15431" y="4230"/>
                  </a:lnTo>
                  <a:lnTo>
                    <a:pt x="15443" y="4111"/>
                  </a:lnTo>
                  <a:lnTo>
                    <a:pt x="15454" y="3990"/>
                  </a:lnTo>
                  <a:lnTo>
                    <a:pt x="15462" y="3868"/>
                  </a:lnTo>
                  <a:lnTo>
                    <a:pt x="15467" y="3745"/>
                  </a:lnTo>
                  <a:lnTo>
                    <a:pt x="15470" y="3621"/>
                  </a:lnTo>
                  <a:lnTo>
                    <a:pt x="15471" y="3496"/>
                  </a:lnTo>
                  <a:lnTo>
                    <a:pt x="15469" y="3369"/>
                  </a:lnTo>
                  <a:lnTo>
                    <a:pt x="15464" y="3240"/>
                  </a:lnTo>
                  <a:lnTo>
                    <a:pt x="15460" y="3150"/>
                  </a:lnTo>
                  <a:lnTo>
                    <a:pt x="15455" y="3060"/>
                  </a:lnTo>
                  <a:lnTo>
                    <a:pt x="15448" y="2971"/>
                  </a:lnTo>
                  <a:lnTo>
                    <a:pt x="15441" y="2885"/>
                  </a:lnTo>
                  <a:lnTo>
                    <a:pt x="15435" y="2799"/>
                  </a:lnTo>
                  <a:lnTo>
                    <a:pt x="15427" y="2716"/>
                  </a:lnTo>
                  <a:lnTo>
                    <a:pt x="15418" y="2633"/>
                  </a:lnTo>
                  <a:lnTo>
                    <a:pt x="15409" y="2553"/>
                  </a:lnTo>
                  <a:lnTo>
                    <a:pt x="15400" y="2475"/>
                  </a:lnTo>
                  <a:lnTo>
                    <a:pt x="15390" y="2397"/>
                  </a:lnTo>
                  <a:lnTo>
                    <a:pt x="15379" y="2321"/>
                  </a:lnTo>
                  <a:lnTo>
                    <a:pt x="15369" y="2246"/>
                  </a:lnTo>
                  <a:lnTo>
                    <a:pt x="15356" y="2174"/>
                  </a:lnTo>
                  <a:lnTo>
                    <a:pt x="15345" y="2102"/>
                  </a:lnTo>
                  <a:lnTo>
                    <a:pt x="15332" y="2032"/>
                  </a:lnTo>
                  <a:lnTo>
                    <a:pt x="15319" y="1964"/>
                  </a:lnTo>
                  <a:lnTo>
                    <a:pt x="15306" y="1897"/>
                  </a:lnTo>
                  <a:lnTo>
                    <a:pt x="15291" y="1832"/>
                  </a:lnTo>
                  <a:lnTo>
                    <a:pt x="15277" y="1768"/>
                  </a:lnTo>
                  <a:lnTo>
                    <a:pt x="15261" y="1705"/>
                  </a:lnTo>
                  <a:lnTo>
                    <a:pt x="15247" y="1645"/>
                  </a:lnTo>
                  <a:lnTo>
                    <a:pt x="15231" y="1585"/>
                  </a:lnTo>
                  <a:lnTo>
                    <a:pt x="15214" y="1527"/>
                  </a:lnTo>
                  <a:lnTo>
                    <a:pt x="15197" y="1471"/>
                  </a:lnTo>
                  <a:lnTo>
                    <a:pt x="15181" y="1415"/>
                  </a:lnTo>
                  <a:lnTo>
                    <a:pt x="15163" y="1361"/>
                  </a:lnTo>
                  <a:lnTo>
                    <a:pt x="15146" y="1310"/>
                  </a:lnTo>
                  <a:lnTo>
                    <a:pt x="15127" y="1258"/>
                  </a:lnTo>
                  <a:lnTo>
                    <a:pt x="15109" y="1210"/>
                  </a:lnTo>
                  <a:lnTo>
                    <a:pt x="15090" y="1162"/>
                  </a:lnTo>
                  <a:lnTo>
                    <a:pt x="15071" y="1115"/>
                  </a:lnTo>
                  <a:lnTo>
                    <a:pt x="15051" y="1071"/>
                  </a:lnTo>
                  <a:lnTo>
                    <a:pt x="15031" y="1027"/>
                  </a:lnTo>
                  <a:lnTo>
                    <a:pt x="15011" y="985"/>
                  </a:lnTo>
                  <a:lnTo>
                    <a:pt x="14991" y="944"/>
                  </a:lnTo>
                  <a:lnTo>
                    <a:pt x="14969" y="905"/>
                  </a:lnTo>
                  <a:lnTo>
                    <a:pt x="14949" y="867"/>
                  </a:lnTo>
                  <a:lnTo>
                    <a:pt x="14927" y="831"/>
                  </a:lnTo>
                  <a:lnTo>
                    <a:pt x="14905" y="796"/>
                  </a:lnTo>
                  <a:lnTo>
                    <a:pt x="14884" y="763"/>
                  </a:lnTo>
                  <a:lnTo>
                    <a:pt x="14862" y="731"/>
                  </a:lnTo>
                  <a:lnTo>
                    <a:pt x="14839" y="700"/>
                  </a:lnTo>
                  <a:lnTo>
                    <a:pt x="14817" y="670"/>
                  </a:lnTo>
                  <a:lnTo>
                    <a:pt x="14794" y="642"/>
                  </a:lnTo>
                  <a:lnTo>
                    <a:pt x="14771" y="617"/>
                  </a:lnTo>
                  <a:lnTo>
                    <a:pt x="14748" y="591"/>
                  </a:lnTo>
                  <a:lnTo>
                    <a:pt x="14725" y="567"/>
                  </a:lnTo>
                  <a:lnTo>
                    <a:pt x="14702" y="546"/>
                  </a:lnTo>
                  <a:lnTo>
                    <a:pt x="14678" y="524"/>
                  </a:lnTo>
                  <a:lnTo>
                    <a:pt x="14654" y="504"/>
                  </a:lnTo>
                  <a:lnTo>
                    <a:pt x="14630" y="487"/>
                  </a:lnTo>
                  <a:lnTo>
                    <a:pt x="14606" y="469"/>
                  </a:lnTo>
                  <a:lnTo>
                    <a:pt x="14582" y="454"/>
                  </a:lnTo>
                  <a:lnTo>
                    <a:pt x="14557" y="440"/>
                  </a:lnTo>
                  <a:lnTo>
                    <a:pt x="14534" y="427"/>
                  </a:lnTo>
                  <a:lnTo>
                    <a:pt x="14509" y="416"/>
                  </a:lnTo>
                  <a:lnTo>
                    <a:pt x="14484" y="405"/>
                  </a:lnTo>
                  <a:lnTo>
                    <a:pt x="14459" y="397"/>
                  </a:lnTo>
                  <a:lnTo>
                    <a:pt x="14435" y="390"/>
                  </a:lnTo>
                  <a:lnTo>
                    <a:pt x="14410" y="384"/>
                  </a:lnTo>
                  <a:lnTo>
                    <a:pt x="14385" y="380"/>
                  </a:lnTo>
                  <a:lnTo>
                    <a:pt x="14360" y="376"/>
                  </a:lnTo>
                  <a:lnTo>
                    <a:pt x="14336" y="374"/>
                  </a:lnTo>
                  <a:lnTo>
                    <a:pt x="14311" y="374"/>
                  </a:lnTo>
                  <a:lnTo>
                    <a:pt x="14280" y="374"/>
                  </a:lnTo>
                  <a:lnTo>
                    <a:pt x="14251" y="377"/>
                  </a:lnTo>
                  <a:lnTo>
                    <a:pt x="14223" y="381"/>
                  </a:lnTo>
                  <a:lnTo>
                    <a:pt x="14170" y="393"/>
                  </a:lnTo>
                  <a:lnTo>
                    <a:pt x="14121" y="409"/>
                  </a:lnTo>
                  <a:lnTo>
                    <a:pt x="14074" y="428"/>
                  </a:lnTo>
                  <a:lnTo>
                    <a:pt x="14031" y="450"/>
                  </a:lnTo>
                  <a:lnTo>
                    <a:pt x="13990" y="473"/>
                  </a:lnTo>
                  <a:lnTo>
                    <a:pt x="13953" y="500"/>
                  </a:lnTo>
                  <a:lnTo>
                    <a:pt x="13917" y="529"/>
                  </a:lnTo>
                  <a:lnTo>
                    <a:pt x="13885" y="559"/>
                  </a:lnTo>
                  <a:lnTo>
                    <a:pt x="13855" y="590"/>
                  </a:lnTo>
                  <a:lnTo>
                    <a:pt x="13828" y="622"/>
                  </a:lnTo>
                  <a:lnTo>
                    <a:pt x="13802" y="654"/>
                  </a:lnTo>
                  <a:lnTo>
                    <a:pt x="13779" y="686"/>
                  </a:lnTo>
                  <a:lnTo>
                    <a:pt x="13757" y="718"/>
                  </a:lnTo>
                  <a:lnTo>
                    <a:pt x="13737" y="748"/>
                  </a:lnTo>
                  <a:lnTo>
                    <a:pt x="13719" y="778"/>
                  </a:lnTo>
                  <a:lnTo>
                    <a:pt x="13706" y="803"/>
                  </a:lnTo>
                  <a:lnTo>
                    <a:pt x="13690" y="829"/>
                  </a:lnTo>
                  <a:lnTo>
                    <a:pt x="13674" y="857"/>
                  </a:lnTo>
                  <a:lnTo>
                    <a:pt x="13656" y="883"/>
                  </a:lnTo>
                  <a:lnTo>
                    <a:pt x="13639" y="909"/>
                  </a:lnTo>
                  <a:lnTo>
                    <a:pt x="13622" y="932"/>
                  </a:lnTo>
                  <a:lnTo>
                    <a:pt x="13615" y="942"/>
                  </a:lnTo>
                  <a:lnTo>
                    <a:pt x="13607" y="951"/>
                  </a:lnTo>
                  <a:lnTo>
                    <a:pt x="13600" y="959"/>
                  </a:lnTo>
                  <a:lnTo>
                    <a:pt x="13594" y="966"/>
                  </a:lnTo>
                  <a:lnTo>
                    <a:pt x="13559" y="987"/>
                  </a:lnTo>
                  <a:lnTo>
                    <a:pt x="13524" y="1007"/>
                  </a:lnTo>
                  <a:lnTo>
                    <a:pt x="13489" y="1025"/>
                  </a:lnTo>
                  <a:lnTo>
                    <a:pt x="13454" y="1040"/>
                  </a:lnTo>
                  <a:lnTo>
                    <a:pt x="13419" y="1053"/>
                  </a:lnTo>
                  <a:lnTo>
                    <a:pt x="13384" y="1067"/>
                  </a:lnTo>
                  <a:lnTo>
                    <a:pt x="13314" y="1090"/>
                  </a:lnTo>
                  <a:lnTo>
                    <a:pt x="13266" y="1112"/>
                  </a:lnTo>
                  <a:lnTo>
                    <a:pt x="13214" y="1134"/>
                  </a:lnTo>
                  <a:lnTo>
                    <a:pt x="13162" y="1157"/>
                  </a:lnTo>
                  <a:lnTo>
                    <a:pt x="13135" y="1170"/>
                  </a:lnTo>
                  <a:lnTo>
                    <a:pt x="13107" y="1183"/>
                  </a:lnTo>
                  <a:lnTo>
                    <a:pt x="13079" y="1199"/>
                  </a:lnTo>
                  <a:lnTo>
                    <a:pt x="13051" y="1216"/>
                  </a:lnTo>
                  <a:lnTo>
                    <a:pt x="13022" y="1235"/>
                  </a:lnTo>
                  <a:lnTo>
                    <a:pt x="12993" y="1256"/>
                  </a:lnTo>
                  <a:lnTo>
                    <a:pt x="12965" y="1280"/>
                  </a:lnTo>
                  <a:lnTo>
                    <a:pt x="12936" y="1307"/>
                  </a:lnTo>
                  <a:lnTo>
                    <a:pt x="12907" y="1337"/>
                  </a:lnTo>
                  <a:lnTo>
                    <a:pt x="12878" y="1371"/>
                  </a:lnTo>
                  <a:lnTo>
                    <a:pt x="12858" y="1391"/>
                  </a:lnTo>
                  <a:lnTo>
                    <a:pt x="12840" y="1412"/>
                  </a:lnTo>
                  <a:lnTo>
                    <a:pt x="12823" y="1433"/>
                  </a:lnTo>
                  <a:lnTo>
                    <a:pt x="12809" y="1455"/>
                  </a:lnTo>
                  <a:lnTo>
                    <a:pt x="12795" y="1477"/>
                  </a:lnTo>
                  <a:lnTo>
                    <a:pt x="12783" y="1499"/>
                  </a:lnTo>
                  <a:lnTo>
                    <a:pt x="12772" y="1522"/>
                  </a:lnTo>
                  <a:lnTo>
                    <a:pt x="12762" y="1545"/>
                  </a:lnTo>
                  <a:lnTo>
                    <a:pt x="12754" y="1568"/>
                  </a:lnTo>
                  <a:lnTo>
                    <a:pt x="12747" y="1591"/>
                  </a:lnTo>
                  <a:lnTo>
                    <a:pt x="12741" y="1615"/>
                  </a:lnTo>
                  <a:lnTo>
                    <a:pt x="12735" y="1638"/>
                  </a:lnTo>
                  <a:lnTo>
                    <a:pt x="12729" y="1688"/>
                  </a:lnTo>
                  <a:lnTo>
                    <a:pt x="12725" y="1736"/>
                  </a:lnTo>
                  <a:lnTo>
                    <a:pt x="12726" y="1787"/>
                  </a:lnTo>
                  <a:lnTo>
                    <a:pt x="12728" y="1837"/>
                  </a:lnTo>
                  <a:lnTo>
                    <a:pt x="12734" y="1889"/>
                  </a:lnTo>
                  <a:lnTo>
                    <a:pt x="12742" y="1940"/>
                  </a:lnTo>
                  <a:lnTo>
                    <a:pt x="12751" y="1992"/>
                  </a:lnTo>
                  <a:lnTo>
                    <a:pt x="12761" y="2044"/>
                  </a:lnTo>
                  <a:lnTo>
                    <a:pt x="12784" y="2149"/>
                  </a:lnTo>
                  <a:lnTo>
                    <a:pt x="12795" y="2203"/>
                  </a:lnTo>
                  <a:lnTo>
                    <a:pt x="12809" y="2260"/>
                  </a:lnTo>
                  <a:lnTo>
                    <a:pt x="12821" y="2318"/>
                  </a:lnTo>
                  <a:lnTo>
                    <a:pt x="12835" y="2379"/>
                  </a:lnTo>
                  <a:lnTo>
                    <a:pt x="12847" y="2444"/>
                  </a:lnTo>
                  <a:lnTo>
                    <a:pt x="12859" y="2511"/>
                  </a:lnTo>
                  <a:lnTo>
                    <a:pt x="12871" y="2582"/>
                  </a:lnTo>
                  <a:lnTo>
                    <a:pt x="12881" y="2656"/>
                  </a:lnTo>
                  <a:lnTo>
                    <a:pt x="12891" y="2733"/>
                  </a:lnTo>
                  <a:lnTo>
                    <a:pt x="12900" y="2815"/>
                  </a:lnTo>
                  <a:lnTo>
                    <a:pt x="12903" y="2858"/>
                  </a:lnTo>
                  <a:lnTo>
                    <a:pt x="12906" y="2901"/>
                  </a:lnTo>
                  <a:lnTo>
                    <a:pt x="12909" y="2946"/>
                  </a:lnTo>
                  <a:lnTo>
                    <a:pt x="12911" y="2991"/>
                  </a:lnTo>
                  <a:lnTo>
                    <a:pt x="12913" y="3037"/>
                  </a:lnTo>
                  <a:lnTo>
                    <a:pt x="12914" y="3085"/>
                  </a:lnTo>
                  <a:lnTo>
                    <a:pt x="12915" y="3134"/>
                  </a:lnTo>
                  <a:lnTo>
                    <a:pt x="12915" y="3184"/>
                  </a:lnTo>
                  <a:lnTo>
                    <a:pt x="12914" y="3235"/>
                  </a:lnTo>
                  <a:lnTo>
                    <a:pt x="12913" y="3288"/>
                  </a:lnTo>
                  <a:lnTo>
                    <a:pt x="12911" y="3341"/>
                  </a:lnTo>
                  <a:lnTo>
                    <a:pt x="12909" y="3396"/>
                  </a:lnTo>
                  <a:lnTo>
                    <a:pt x="12901" y="3396"/>
                  </a:lnTo>
                  <a:lnTo>
                    <a:pt x="12890" y="3396"/>
                  </a:lnTo>
                  <a:lnTo>
                    <a:pt x="12869" y="3392"/>
                  </a:lnTo>
                  <a:lnTo>
                    <a:pt x="12843" y="3384"/>
                  </a:lnTo>
                  <a:lnTo>
                    <a:pt x="12815" y="3375"/>
                  </a:lnTo>
                  <a:lnTo>
                    <a:pt x="12785" y="3362"/>
                  </a:lnTo>
                  <a:lnTo>
                    <a:pt x="12754" y="3345"/>
                  </a:lnTo>
                  <a:lnTo>
                    <a:pt x="12722" y="3326"/>
                  </a:lnTo>
                  <a:lnTo>
                    <a:pt x="12690" y="3303"/>
                  </a:lnTo>
                  <a:lnTo>
                    <a:pt x="12690" y="3302"/>
                  </a:lnTo>
                  <a:lnTo>
                    <a:pt x="12688" y="3300"/>
                  </a:lnTo>
                  <a:lnTo>
                    <a:pt x="12685" y="3296"/>
                  </a:lnTo>
                  <a:lnTo>
                    <a:pt x="12681" y="3291"/>
                  </a:lnTo>
                  <a:lnTo>
                    <a:pt x="12676" y="3284"/>
                  </a:lnTo>
                  <a:lnTo>
                    <a:pt x="12669" y="3276"/>
                  </a:lnTo>
                  <a:lnTo>
                    <a:pt x="12662" y="3268"/>
                  </a:lnTo>
                  <a:lnTo>
                    <a:pt x="12654" y="3258"/>
                  </a:lnTo>
                  <a:lnTo>
                    <a:pt x="12636" y="3236"/>
                  </a:lnTo>
                  <a:lnTo>
                    <a:pt x="12615" y="3210"/>
                  </a:lnTo>
                  <a:lnTo>
                    <a:pt x="12591" y="3184"/>
                  </a:lnTo>
                  <a:lnTo>
                    <a:pt x="12566" y="3155"/>
                  </a:lnTo>
                  <a:lnTo>
                    <a:pt x="12539" y="3125"/>
                  </a:lnTo>
                  <a:lnTo>
                    <a:pt x="12511" y="3096"/>
                  </a:lnTo>
                  <a:lnTo>
                    <a:pt x="12482" y="3067"/>
                  </a:lnTo>
                  <a:lnTo>
                    <a:pt x="12454" y="3039"/>
                  </a:lnTo>
                  <a:lnTo>
                    <a:pt x="12426" y="3015"/>
                  </a:lnTo>
                  <a:lnTo>
                    <a:pt x="12398" y="2992"/>
                  </a:lnTo>
                  <a:lnTo>
                    <a:pt x="12384" y="2983"/>
                  </a:lnTo>
                  <a:lnTo>
                    <a:pt x="12372" y="2973"/>
                  </a:lnTo>
                  <a:lnTo>
                    <a:pt x="12360" y="2966"/>
                  </a:lnTo>
                  <a:lnTo>
                    <a:pt x="12347" y="2960"/>
                  </a:lnTo>
                  <a:lnTo>
                    <a:pt x="12370" y="2947"/>
                  </a:lnTo>
                  <a:lnTo>
                    <a:pt x="12390" y="2931"/>
                  </a:lnTo>
                  <a:lnTo>
                    <a:pt x="12408" y="2914"/>
                  </a:lnTo>
                  <a:lnTo>
                    <a:pt x="12426" y="2893"/>
                  </a:lnTo>
                  <a:lnTo>
                    <a:pt x="12443" y="2872"/>
                  </a:lnTo>
                  <a:lnTo>
                    <a:pt x="12462" y="2850"/>
                  </a:lnTo>
                  <a:lnTo>
                    <a:pt x="12481" y="2827"/>
                  </a:lnTo>
                  <a:lnTo>
                    <a:pt x="12503" y="2803"/>
                  </a:lnTo>
                  <a:lnTo>
                    <a:pt x="12519" y="2762"/>
                  </a:lnTo>
                  <a:lnTo>
                    <a:pt x="12531" y="2721"/>
                  </a:lnTo>
                  <a:lnTo>
                    <a:pt x="12539" y="2678"/>
                  </a:lnTo>
                  <a:lnTo>
                    <a:pt x="12544" y="2634"/>
                  </a:lnTo>
                  <a:lnTo>
                    <a:pt x="12546" y="2590"/>
                  </a:lnTo>
                  <a:lnTo>
                    <a:pt x="12544" y="2545"/>
                  </a:lnTo>
                  <a:lnTo>
                    <a:pt x="12539" y="2500"/>
                  </a:lnTo>
                  <a:lnTo>
                    <a:pt x="12531" y="2453"/>
                  </a:lnTo>
                  <a:lnTo>
                    <a:pt x="12519" y="2406"/>
                  </a:lnTo>
                  <a:lnTo>
                    <a:pt x="12503" y="2358"/>
                  </a:lnTo>
                  <a:lnTo>
                    <a:pt x="12486" y="2310"/>
                  </a:lnTo>
                  <a:lnTo>
                    <a:pt x="12464" y="2261"/>
                  </a:lnTo>
                  <a:lnTo>
                    <a:pt x="12439" y="2210"/>
                  </a:lnTo>
                  <a:lnTo>
                    <a:pt x="12411" y="2160"/>
                  </a:lnTo>
                  <a:lnTo>
                    <a:pt x="12381" y="2108"/>
                  </a:lnTo>
                  <a:lnTo>
                    <a:pt x="12347" y="2056"/>
                  </a:lnTo>
                  <a:lnTo>
                    <a:pt x="12327" y="2030"/>
                  </a:lnTo>
                  <a:lnTo>
                    <a:pt x="12306" y="2006"/>
                  </a:lnTo>
                  <a:lnTo>
                    <a:pt x="12285" y="1982"/>
                  </a:lnTo>
                  <a:lnTo>
                    <a:pt x="12265" y="1961"/>
                  </a:lnTo>
                  <a:lnTo>
                    <a:pt x="12243" y="1939"/>
                  </a:lnTo>
                  <a:lnTo>
                    <a:pt x="12222" y="1920"/>
                  </a:lnTo>
                  <a:lnTo>
                    <a:pt x="12179" y="1882"/>
                  </a:lnTo>
                  <a:lnTo>
                    <a:pt x="12136" y="1848"/>
                  </a:lnTo>
                  <a:lnTo>
                    <a:pt x="12092" y="1816"/>
                  </a:lnTo>
                  <a:lnTo>
                    <a:pt x="12048" y="1786"/>
                  </a:lnTo>
                  <a:lnTo>
                    <a:pt x="12005" y="1758"/>
                  </a:lnTo>
                  <a:lnTo>
                    <a:pt x="11960" y="1730"/>
                  </a:lnTo>
                  <a:lnTo>
                    <a:pt x="11917" y="1703"/>
                  </a:lnTo>
                  <a:lnTo>
                    <a:pt x="11830" y="1650"/>
                  </a:lnTo>
                  <a:lnTo>
                    <a:pt x="11787" y="1622"/>
                  </a:lnTo>
                  <a:lnTo>
                    <a:pt x="11744" y="1592"/>
                  </a:lnTo>
                  <a:lnTo>
                    <a:pt x="11703" y="1561"/>
                  </a:lnTo>
                  <a:lnTo>
                    <a:pt x="11662" y="1526"/>
                  </a:lnTo>
                  <a:lnTo>
                    <a:pt x="11628" y="1498"/>
                  </a:lnTo>
                  <a:lnTo>
                    <a:pt x="11594" y="1470"/>
                  </a:lnTo>
                  <a:lnTo>
                    <a:pt x="11577" y="1454"/>
                  </a:lnTo>
                  <a:lnTo>
                    <a:pt x="11562" y="1438"/>
                  </a:lnTo>
                  <a:lnTo>
                    <a:pt x="11548" y="1421"/>
                  </a:lnTo>
                  <a:lnTo>
                    <a:pt x="11537" y="1402"/>
                  </a:lnTo>
                  <a:lnTo>
                    <a:pt x="11510" y="1365"/>
                  </a:lnTo>
                  <a:lnTo>
                    <a:pt x="11479" y="1325"/>
                  </a:lnTo>
                  <a:lnTo>
                    <a:pt x="11447" y="1282"/>
                  </a:lnTo>
                  <a:lnTo>
                    <a:pt x="11412" y="1237"/>
                  </a:lnTo>
                  <a:lnTo>
                    <a:pt x="11374" y="1189"/>
                  </a:lnTo>
                  <a:lnTo>
                    <a:pt x="11334" y="1139"/>
                  </a:lnTo>
                  <a:lnTo>
                    <a:pt x="11290" y="1087"/>
                  </a:lnTo>
                  <a:lnTo>
                    <a:pt x="11245" y="1034"/>
                  </a:lnTo>
                  <a:lnTo>
                    <a:pt x="11196" y="979"/>
                  </a:lnTo>
                  <a:lnTo>
                    <a:pt x="11146" y="924"/>
                  </a:lnTo>
                  <a:lnTo>
                    <a:pt x="11092" y="867"/>
                  </a:lnTo>
                  <a:lnTo>
                    <a:pt x="11036" y="810"/>
                  </a:lnTo>
                  <a:lnTo>
                    <a:pt x="10977" y="754"/>
                  </a:lnTo>
                  <a:lnTo>
                    <a:pt x="10916" y="696"/>
                  </a:lnTo>
                  <a:lnTo>
                    <a:pt x="10852" y="639"/>
                  </a:lnTo>
                  <a:lnTo>
                    <a:pt x="10785" y="584"/>
                  </a:lnTo>
                  <a:lnTo>
                    <a:pt x="10716" y="529"/>
                  </a:lnTo>
                  <a:lnTo>
                    <a:pt x="10644" y="474"/>
                  </a:lnTo>
                  <a:lnTo>
                    <a:pt x="10570" y="423"/>
                  </a:lnTo>
                  <a:lnTo>
                    <a:pt x="10492" y="371"/>
                  </a:lnTo>
                  <a:lnTo>
                    <a:pt x="10413" y="323"/>
                  </a:lnTo>
                  <a:lnTo>
                    <a:pt x="10330" y="277"/>
                  </a:lnTo>
                  <a:lnTo>
                    <a:pt x="10244" y="233"/>
                  </a:lnTo>
                  <a:lnTo>
                    <a:pt x="10157" y="192"/>
                  </a:lnTo>
                  <a:lnTo>
                    <a:pt x="10066" y="154"/>
                  </a:lnTo>
                  <a:lnTo>
                    <a:pt x="9973" y="120"/>
                  </a:lnTo>
                  <a:lnTo>
                    <a:pt x="9877" y="89"/>
                  </a:lnTo>
                  <a:lnTo>
                    <a:pt x="9827" y="75"/>
                  </a:lnTo>
                  <a:lnTo>
                    <a:pt x="9778" y="62"/>
                  </a:lnTo>
                  <a:lnTo>
                    <a:pt x="9727" y="50"/>
                  </a:lnTo>
                  <a:lnTo>
                    <a:pt x="9677" y="40"/>
                  </a:lnTo>
                  <a:lnTo>
                    <a:pt x="9625" y="30"/>
                  </a:lnTo>
                  <a:lnTo>
                    <a:pt x="9572" y="21"/>
                  </a:lnTo>
                  <a:lnTo>
                    <a:pt x="9520" y="14"/>
                  </a:lnTo>
                  <a:lnTo>
                    <a:pt x="9465" y="8"/>
                  </a:lnTo>
                  <a:lnTo>
                    <a:pt x="9411" y="3"/>
                  </a:lnTo>
                  <a:lnTo>
                    <a:pt x="9356" y="0"/>
                  </a:lnTo>
                  <a:lnTo>
                    <a:pt x="9231" y="0"/>
                  </a:lnTo>
                  <a:lnTo>
                    <a:pt x="92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217" name="Freeform 45"/>
            <p:cNvSpPr>
              <a:spLocks/>
            </p:cNvSpPr>
            <p:nvPr/>
          </p:nvSpPr>
          <p:spPr bwMode="auto">
            <a:xfrm>
              <a:off x="-1422419" y="-770563"/>
              <a:ext cx="415114" cy="424072"/>
            </a:xfrm>
            <a:custGeom>
              <a:avLst/>
              <a:gdLst>
                <a:gd name="T0" fmla="*/ 2086 w 2090"/>
                <a:gd name="T1" fmla="*/ 1 h 2119"/>
                <a:gd name="T2" fmla="*/ 2063 w 2090"/>
                <a:gd name="T3" fmla="*/ 8 h 2119"/>
                <a:gd name="T4" fmla="*/ 2023 w 2090"/>
                <a:gd name="T5" fmla="*/ 20 h 2119"/>
                <a:gd name="T6" fmla="*/ 1964 w 2090"/>
                <a:gd name="T7" fmla="*/ 35 h 2119"/>
                <a:gd name="T8" fmla="*/ 1887 w 2090"/>
                <a:gd name="T9" fmla="*/ 53 h 2119"/>
                <a:gd name="T10" fmla="*/ 1790 w 2090"/>
                <a:gd name="T11" fmla="*/ 73 h 2119"/>
                <a:gd name="T12" fmla="*/ 1673 w 2090"/>
                <a:gd name="T13" fmla="*/ 96 h 2119"/>
                <a:gd name="T14" fmla="*/ 1536 w 2090"/>
                <a:gd name="T15" fmla="*/ 119 h 2119"/>
                <a:gd name="T16" fmla="*/ 1298 w 2090"/>
                <a:gd name="T17" fmla="*/ 152 h 2119"/>
                <a:gd name="T18" fmla="*/ 1061 w 2090"/>
                <a:gd name="T19" fmla="*/ 171 h 2119"/>
                <a:gd name="T20" fmla="*/ 859 w 2090"/>
                <a:gd name="T21" fmla="*/ 192 h 2119"/>
                <a:gd name="T22" fmla="*/ 693 w 2090"/>
                <a:gd name="T23" fmla="*/ 233 h 2119"/>
                <a:gd name="T24" fmla="*/ 515 w 2090"/>
                <a:gd name="T25" fmla="*/ 347 h 2119"/>
                <a:gd name="T26" fmla="*/ 365 w 2090"/>
                <a:gd name="T27" fmla="*/ 513 h 2119"/>
                <a:gd name="T28" fmla="*/ 248 w 2090"/>
                <a:gd name="T29" fmla="*/ 723 h 2119"/>
                <a:gd name="T30" fmla="*/ 150 w 2090"/>
                <a:gd name="T31" fmla="*/ 986 h 2119"/>
                <a:gd name="T32" fmla="*/ 77 w 2090"/>
                <a:gd name="T33" fmla="*/ 1239 h 2119"/>
                <a:gd name="T34" fmla="*/ 19 w 2090"/>
                <a:gd name="T35" fmla="*/ 1600 h 2119"/>
                <a:gd name="T36" fmla="*/ 7 w 2090"/>
                <a:gd name="T37" fmla="*/ 1765 h 2119"/>
                <a:gd name="T38" fmla="*/ 1 w 2090"/>
                <a:gd name="T39" fmla="*/ 1907 h 2119"/>
                <a:gd name="T40" fmla="*/ 1 w 2090"/>
                <a:gd name="T41" fmla="*/ 2019 h 2119"/>
                <a:gd name="T42" fmla="*/ 2 w 2090"/>
                <a:gd name="T43" fmla="*/ 2093 h 2119"/>
                <a:gd name="T44" fmla="*/ 3 w 2090"/>
                <a:gd name="T45" fmla="*/ 2119 h 2119"/>
                <a:gd name="T46" fmla="*/ 5 w 2090"/>
                <a:gd name="T47" fmla="*/ 2110 h 2119"/>
                <a:gd name="T48" fmla="*/ 12 w 2090"/>
                <a:gd name="T49" fmla="*/ 2082 h 2119"/>
                <a:gd name="T50" fmla="*/ 40 w 2090"/>
                <a:gd name="T51" fmla="*/ 1983 h 2119"/>
                <a:gd name="T52" fmla="*/ 83 w 2090"/>
                <a:gd name="T53" fmla="*/ 1837 h 2119"/>
                <a:gd name="T54" fmla="*/ 139 w 2090"/>
                <a:gd name="T55" fmla="*/ 1659 h 2119"/>
                <a:gd name="T56" fmla="*/ 260 w 2090"/>
                <a:gd name="T57" fmla="*/ 1325 h 2119"/>
                <a:gd name="T58" fmla="*/ 337 w 2090"/>
                <a:gd name="T59" fmla="*/ 1145 h 2119"/>
                <a:gd name="T60" fmla="*/ 419 w 2090"/>
                <a:gd name="T61" fmla="*/ 997 h 2119"/>
                <a:gd name="T62" fmla="*/ 481 w 2090"/>
                <a:gd name="T63" fmla="*/ 901 h 2119"/>
                <a:gd name="T64" fmla="*/ 565 w 2090"/>
                <a:gd name="T65" fmla="*/ 784 h 2119"/>
                <a:gd name="T66" fmla="*/ 636 w 2090"/>
                <a:gd name="T67" fmla="*/ 701 h 2119"/>
                <a:gd name="T68" fmla="*/ 679 w 2090"/>
                <a:gd name="T69" fmla="*/ 662 h 2119"/>
                <a:gd name="T70" fmla="*/ 687 w 2090"/>
                <a:gd name="T71" fmla="*/ 656 h 2119"/>
                <a:gd name="T72" fmla="*/ 675 w 2090"/>
                <a:gd name="T73" fmla="*/ 694 h 2119"/>
                <a:gd name="T74" fmla="*/ 657 w 2090"/>
                <a:gd name="T75" fmla="*/ 770 h 2119"/>
                <a:gd name="T76" fmla="*/ 648 w 2090"/>
                <a:gd name="T77" fmla="*/ 863 h 2119"/>
                <a:gd name="T78" fmla="*/ 663 w 2090"/>
                <a:gd name="T79" fmla="*/ 987 h 2119"/>
                <a:gd name="T80" fmla="*/ 699 w 2090"/>
                <a:gd name="T81" fmla="*/ 1175 h 2119"/>
                <a:gd name="T82" fmla="*/ 741 w 2090"/>
                <a:gd name="T83" fmla="*/ 1322 h 2119"/>
                <a:gd name="T84" fmla="*/ 767 w 2090"/>
                <a:gd name="T85" fmla="*/ 1395 h 2119"/>
                <a:gd name="T86" fmla="*/ 778 w 2090"/>
                <a:gd name="T87" fmla="*/ 1424 h 2119"/>
                <a:gd name="T88" fmla="*/ 782 w 2090"/>
                <a:gd name="T89" fmla="*/ 1434 h 2119"/>
                <a:gd name="T90" fmla="*/ 783 w 2090"/>
                <a:gd name="T91" fmla="*/ 1407 h 2119"/>
                <a:gd name="T92" fmla="*/ 790 w 2090"/>
                <a:gd name="T93" fmla="*/ 1337 h 2119"/>
                <a:gd name="T94" fmla="*/ 803 w 2090"/>
                <a:gd name="T95" fmla="*/ 1231 h 2119"/>
                <a:gd name="T96" fmla="*/ 824 w 2090"/>
                <a:gd name="T97" fmla="*/ 1102 h 2119"/>
                <a:gd name="T98" fmla="*/ 900 w 2090"/>
                <a:gd name="T99" fmla="*/ 816 h 2119"/>
                <a:gd name="T100" fmla="*/ 974 w 2090"/>
                <a:gd name="T101" fmla="*/ 647 h 2119"/>
                <a:gd name="T102" fmla="*/ 1055 w 2090"/>
                <a:gd name="T103" fmla="*/ 533 h 2119"/>
                <a:gd name="T104" fmla="*/ 1165 w 2090"/>
                <a:gd name="T105" fmla="*/ 433 h 2119"/>
                <a:gd name="T106" fmla="*/ 1295 w 2090"/>
                <a:gd name="T107" fmla="*/ 351 h 2119"/>
                <a:gd name="T108" fmla="*/ 1560 w 2090"/>
                <a:gd name="T109" fmla="*/ 249 h 2119"/>
                <a:gd name="T110" fmla="*/ 1736 w 2090"/>
                <a:gd name="T111" fmla="*/ 184 h 2119"/>
                <a:gd name="T112" fmla="*/ 1907 w 2090"/>
                <a:gd name="T113" fmla="*/ 101 h 2119"/>
                <a:gd name="T114" fmla="*/ 2012 w 2090"/>
                <a:gd name="T115" fmla="*/ 45 h 2119"/>
                <a:gd name="T116" fmla="*/ 2060 w 2090"/>
                <a:gd name="T117" fmla="*/ 18 h 2119"/>
                <a:gd name="T118" fmla="*/ 2087 w 2090"/>
                <a:gd name="T119" fmla="*/ 2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0" h="2119">
                  <a:moveTo>
                    <a:pt x="2090" y="0"/>
                  </a:moveTo>
                  <a:lnTo>
                    <a:pt x="2090" y="0"/>
                  </a:lnTo>
                  <a:lnTo>
                    <a:pt x="2088" y="1"/>
                  </a:lnTo>
                  <a:lnTo>
                    <a:pt x="2086" y="1"/>
                  </a:lnTo>
                  <a:lnTo>
                    <a:pt x="2082" y="3"/>
                  </a:lnTo>
                  <a:lnTo>
                    <a:pt x="2077" y="4"/>
                  </a:lnTo>
                  <a:lnTo>
                    <a:pt x="2070" y="6"/>
                  </a:lnTo>
                  <a:lnTo>
                    <a:pt x="2063" y="8"/>
                  </a:lnTo>
                  <a:lnTo>
                    <a:pt x="2055" y="10"/>
                  </a:lnTo>
                  <a:lnTo>
                    <a:pt x="2046" y="13"/>
                  </a:lnTo>
                  <a:lnTo>
                    <a:pt x="2034" y="17"/>
                  </a:lnTo>
                  <a:lnTo>
                    <a:pt x="2023" y="20"/>
                  </a:lnTo>
                  <a:lnTo>
                    <a:pt x="2009" y="23"/>
                  </a:lnTo>
                  <a:lnTo>
                    <a:pt x="1996" y="27"/>
                  </a:lnTo>
                  <a:lnTo>
                    <a:pt x="1981" y="31"/>
                  </a:lnTo>
                  <a:lnTo>
                    <a:pt x="1964" y="35"/>
                  </a:lnTo>
                  <a:lnTo>
                    <a:pt x="1946" y="39"/>
                  </a:lnTo>
                  <a:lnTo>
                    <a:pt x="1928" y="43"/>
                  </a:lnTo>
                  <a:lnTo>
                    <a:pt x="1907" y="48"/>
                  </a:lnTo>
                  <a:lnTo>
                    <a:pt x="1887" y="53"/>
                  </a:lnTo>
                  <a:lnTo>
                    <a:pt x="1864" y="58"/>
                  </a:lnTo>
                  <a:lnTo>
                    <a:pt x="1840" y="63"/>
                  </a:lnTo>
                  <a:lnTo>
                    <a:pt x="1815" y="68"/>
                  </a:lnTo>
                  <a:lnTo>
                    <a:pt x="1790" y="73"/>
                  </a:lnTo>
                  <a:lnTo>
                    <a:pt x="1762" y="79"/>
                  </a:lnTo>
                  <a:lnTo>
                    <a:pt x="1733" y="85"/>
                  </a:lnTo>
                  <a:lnTo>
                    <a:pt x="1704" y="90"/>
                  </a:lnTo>
                  <a:lnTo>
                    <a:pt x="1673" y="96"/>
                  </a:lnTo>
                  <a:lnTo>
                    <a:pt x="1640" y="102"/>
                  </a:lnTo>
                  <a:lnTo>
                    <a:pt x="1607" y="107"/>
                  </a:lnTo>
                  <a:lnTo>
                    <a:pt x="1572" y="113"/>
                  </a:lnTo>
                  <a:lnTo>
                    <a:pt x="1536" y="119"/>
                  </a:lnTo>
                  <a:lnTo>
                    <a:pt x="1498" y="125"/>
                  </a:lnTo>
                  <a:lnTo>
                    <a:pt x="1429" y="135"/>
                  </a:lnTo>
                  <a:lnTo>
                    <a:pt x="1362" y="144"/>
                  </a:lnTo>
                  <a:lnTo>
                    <a:pt x="1298" y="152"/>
                  </a:lnTo>
                  <a:lnTo>
                    <a:pt x="1235" y="158"/>
                  </a:lnTo>
                  <a:lnTo>
                    <a:pt x="1175" y="163"/>
                  </a:lnTo>
                  <a:lnTo>
                    <a:pt x="1118" y="167"/>
                  </a:lnTo>
                  <a:lnTo>
                    <a:pt x="1061" y="171"/>
                  </a:lnTo>
                  <a:lnTo>
                    <a:pt x="1007" y="175"/>
                  </a:lnTo>
                  <a:lnTo>
                    <a:pt x="957" y="180"/>
                  </a:lnTo>
                  <a:lnTo>
                    <a:pt x="907" y="185"/>
                  </a:lnTo>
                  <a:lnTo>
                    <a:pt x="859" y="192"/>
                  </a:lnTo>
                  <a:lnTo>
                    <a:pt x="815" y="199"/>
                  </a:lnTo>
                  <a:lnTo>
                    <a:pt x="772" y="208"/>
                  </a:lnTo>
                  <a:lnTo>
                    <a:pt x="731" y="219"/>
                  </a:lnTo>
                  <a:lnTo>
                    <a:pt x="693" y="233"/>
                  </a:lnTo>
                  <a:lnTo>
                    <a:pt x="657" y="249"/>
                  </a:lnTo>
                  <a:lnTo>
                    <a:pt x="606" y="279"/>
                  </a:lnTo>
                  <a:lnTo>
                    <a:pt x="559" y="312"/>
                  </a:lnTo>
                  <a:lnTo>
                    <a:pt x="515" y="347"/>
                  </a:lnTo>
                  <a:lnTo>
                    <a:pt x="473" y="384"/>
                  </a:lnTo>
                  <a:lnTo>
                    <a:pt x="435" y="424"/>
                  </a:lnTo>
                  <a:lnTo>
                    <a:pt x="399" y="468"/>
                  </a:lnTo>
                  <a:lnTo>
                    <a:pt x="365" y="513"/>
                  </a:lnTo>
                  <a:lnTo>
                    <a:pt x="334" y="561"/>
                  </a:lnTo>
                  <a:lnTo>
                    <a:pt x="304" y="612"/>
                  </a:lnTo>
                  <a:lnTo>
                    <a:pt x="275" y="667"/>
                  </a:lnTo>
                  <a:lnTo>
                    <a:pt x="248" y="723"/>
                  </a:lnTo>
                  <a:lnTo>
                    <a:pt x="224" y="784"/>
                  </a:lnTo>
                  <a:lnTo>
                    <a:pt x="199" y="848"/>
                  </a:lnTo>
                  <a:lnTo>
                    <a:pt x="174" y="915"/>
                  </a:lnTo>
                  <a:lnTo>
                    <a:pt x="150" y="986"/>
                  </a:lnTo>
                  <a:lnTo>
                    <a:pt x="128" y="1060"/>
                  </a:lnTo>
                  <a:lnTo>
                    <a:pt x="113" y="1104"/>
                  </a:lnTo>
                  <a:lnTo>
                    <a:pt x="100" y="1149"/>
                  </a:lnTo>
                  <a:lnTo>
                    <a:pt x="77" y="1239"/>
                  </a:lnTo>
                  <a:lnTo>
                    <a:pt x="57" y="1331"/>
                  </a:lnTo>
                  <a:lnTo>
                    <a:pt x="42" y="1423"/>
                  </a:lnTo>
                  <a:lnTo>
                    <a:pt x="29" y="1512"/>
                  </a:lnTo>
                  <a:lnTo>
                    <a:pt x="19" y="1600"/>
                  </a:lnTo>
                  <a:lnTo>
                    <a:pt x="15" y="1643"/>
                  </a:lnTo>
                  <a:lnTo>
                    <a:pt x="12" y="1684"/>
                  </a:lnTo>
                  <a:lnTo>
                    <a:pt x="9" y="1725"/>
                  </a:lnTo>
                  <a:lnTo>
                    <a:pt x="7" y="1765"/>
                  </a:lnTo>
                  <a:lnTo>
                    <a:pt x="5" y="1803"/>
                  </a:lnTo>
                  <a:lnTo>
                    <a:pt x="3" y="1839"/>
                  </a:lnTo>
                  <a:lnTo>
                    <a:pt x="2" y="1874"/>
                  </a:lnTo>
                  <a:lnTo>
                    <a:pt x="1" y="1907"/>
                  </a:lnTo>
                  <a:lnTo>
                    <a:pt x="1" y="1939"/>
                  </a:lnTo>
                  <a:lnTo>
                    <a:pt x="0" y="1967"/>
                  </a:lnTo>
                  <a:lnTo>
                    <a:pt x="0" y="1994"/>
                  </a:lnTo>
                  <a:lnTo>
                    <a:pt x="1" y="2019"/>
                  </a:lnTo>
                  <a:lnTo>
                    <a:pt x="1" y="2042"/>
                  </a:lnTo>
                  <a:lnTo>
                    <a:pt x="1" y="2061"/>
                  </a:lnTo>
                  <a:lnTo>
                    <a:pt x="1" y="2079"/>
                  </a:lnTo>
                  <a:lnTo>
                    <a:pt x="2" y="2093"/>
                  </a:lnTo>
                  <a:lnTo>
                    <a:pt x="2" y="2104"/>
                  </a:lnTo>
                  <a:lnTo>
                    <a:pt x="3" y="2113"/>
                  </a:lnTo>
                  <a:lnTo>
                    <a:pt x="3" y="2117"/>
                  </a:lnTo>
                  <a:lnTo>
                    <a:pt x="3" y="2119"/>
                  </a:lnTo>
                  <a:lnTo>
                    <a:pt x="3" y="2119"/>
                  </a:lnTo>
                  <a:lnTo>
                    <a:pt x="4" y="2117"/>
                  </a:lnTo>
                  <a:lnTo>
                    <a:pt x="4" y="2114"/>
                  </a:lnTo>
                  <a:lnTo>
                    <a:pt x="5" y="2110"/>
                  </a:lnTo>
                  <a:lnTo>
                    <a:pt x="7" y="2104"/>
                  </a:lnTo>
                  <a:lnTo>
                    <a:pt x="8" y="2098"/>
                  </a:lnTo>
                  <a:lnTo>
                    <a:pt x="10" y="2091"/>
                  </a:lnTo>
                  <a:lnTo>
                    <a:pt x="12" y="2082"/>
                  </a:lnTo>
                  <a:lnTo>
                    <a:pt x="18" y="2062"/>
                  </a:lnTo>
                  <a:lnTo>
                    <a:pt x="24" y="2040"/>
                  </a:lnTo>
                  <a:lnTo>
                    <a:pt x="32" y="2013"/>
                  </a:lnTo>
                  <a:lnTo>
                    <a:pt x="40" y="1983"/>
                  </a:lnTo>
                  <a:lnTo>
                    <a:pt x="49" y="1950"/>
                  </a:lnTo>
                  <a:lnTo>
                    <a:pt x="59" y="1914"/>
                  </a:lnTo>
                  <a:lnTo>
                    <a:pt x="71" y="1877"/>
                  </a:lnTo>
                  <a:lnTo>
                    <a:pt x="83" y="1837"/>
                  </a:lnTo>
                  <a:lnTo>
                    <a:pt x="96" y="1794"/>
                  </a:lnTo>
                  <a:lnTo>
                    <a:pt x="110" y="1751"/>
                  </a:lnTo>
                  <a:lnTo>
                    <a:pt x="123" y="1706"/>
                  </a:lnTo>
                  <a:lnTo>
                    <a:pt x="139" y="1659"/>
                  </a:lnTo>
                  <a:lnTo>
                    <a:pt x="171" y="1565"/>
                  </a:lnTo>
                  <a:lnTo>
                    <a:pt x="205" y="1468"/>
                  </a:lnTo>
                  <a:lnTo>
                    <a:pt x="241" y="1372"/>
                  </a:lnTo>
                  <a:lnTo>
                    <a:pt x="260" y="1325"/>
                  </a:lnTo>
                  <a:lnTo>
                    <a:pt x="278" y="1277"/>
                  </a:lnTo>
                  <a:lnTo>
                    <a:pt x="298" y="1232"/>
                  </a:lnTo>
                  <a:lnTo>
                    <a:pt x="317" y="1189"/>
                  </a:lnTo>
                  <a:lnTo>
                    <a:pt x="337" y="1145"/>
                  </a:lnTo>
                  <a:lnTo>
                    <a:pt x="358" y="1105"/>
                  </a:lnTo>
                  <a:lnTo>
                    <a:pt x="377" y="1066"/>
                  </a:lnTo>
                  <a:lnTo>
                    <a:pt x="398" y="1030"/>
                  </a:lnTo>
                  <a:lnTo>
                    <a:pt x="419" y="997"/>
                  </a:lnTo>
                  <a:lnTo>
                    <a:pt x="438" y="966"/>
                  </a:lnTo>
                  <a:lnTo>
                    <a:pt x="453" y="944"/>
                  </a:lnTo>
                  <a:lnTo>
                    <a:pt x="467" y="922"/>
                  </a:lnTo>
                  <a:lnTo>
                    <a:pt x="481" y="901"/>
                  </a:lnTo>
                  <a:lnTo>
                    <a:pt x="494" y="881"/>
                  </a:lnTo>
                  <a:lnTo>
                    <a:pt x="520" y="845"/>
                  </a:lnTo>
                  <a:lnTo>
                    <a:pt x="544" y="813"/>
                  </a:lnTo>
                  <a:lnTo>
                    <a:pt x="565" y="784"/>
                  </a:lnTo>
                  <a:lnTo>
                    <a:pt x="586" y="758"/>
                  </a:lnTo>
                  <a:lnTo>
                    <a:pt x="604" y="736"/>
                  </a:lnTo>
                  <a:lnTo>
                    <a:pt x="622" y="717"/>
                  </a:lnTo>
                  <a:lnTo>
                    <a:pt x="636" y="701"/>
                  </a:lnTo>
                  <a:lnTo>
                    <a:pt x="650" y="687"/>
                  </a:lnTo>
                  <a:lnTo>
                    <a:pt x="661" y="677"/>
                  </a:lnTo>
                  <a:lnTo>
                    <a:pt x="671" y="669"/>
                  </a:lnTo>
                  <a:lnTo>
                    <a:pt x="679" y="662"/>
                  </a:lnTo>
                  <a:lnTo>
                    <a:pt x="684" y="657"/>
                  </a:lnTo>
                  <a:lnTo>
                    <a:pt x="687" y="655"/>
                  </a:lnTo>
                  <a:lnTo>
                    <a:pt x="688" y="654"/>
                  </a:lnTo>
                  <a:lnTo>
                    <a:pt x="687" y="656"/>
                  </a:lnTo>
                  <a:lnTo>
                    <a:pt x="685" y="661"/>
                  </a:lnTo>
                  <a:lnTo>
                    <a:pt x="683" y="670"/>
                  </a:lnTo>
                  <a:lnTo>
                    <a:pt x="679" y="681"/>
                  </a:lnTo>
                  <a:lnTo>
                    <a:pt x="675" y="694"/>
                  </a:lnTo>
                  <a:lnTo>
                    <a:pt x="670" y="711"/>
                  </a:lnTo>
                  <a:lnTo>
                    <a:pt x="665" y="728"/>
                  </a:lnTo>
                  <a:lnTo>
                    <a:pt x="661" y="748"/>
                  </a:lnTo>
                  <a:lnTo>
                    <a:pt x="657" y="770"/>
                  </a:lnTo>
                  <a:lnTo>
                    <a:pt x="653" y="791"/>
                  </a:lnTo>
                  <a:lnTo>
                    <a:pt x="650" y="815"/>
                  </a:lnTo>
                  <a:lnTo>
                    <a:pt x="649" y="839"/>
                  </a:lnTo>
                  <a:lnTo>
                    <a:pt x="648" y="863"/>
                  </a:lnTo>
                  <a:lnTo>
                    <a:pt x="649" y="887"/>
                  </a:lnTo>
                  <a:lnTo>
                    <a:pt x="652" y="912"/>
                  </a:lnTo>
                  <a:lnTo>
                    <a:pt x="657" y="935"/>
                  </a:lnTo>
                  <a:lnTo>
                    <a:pt x="663" y="987"/>
                  </a:lnTo>
                  <a:lnTo>
                    <a:pt x="672" y="1037"/>
                  </a:lnTo>
                  <a:lnTo>
                    <a:pt x="680" y="1085"/>
                  </a:lnTo>
                  <a:lnTo>
                    <a:pt x="689" y="1131"/>
                  </a:lnTo>
                  <a:lnTo>
                    <a:pt x="699" y="1175"/>
                  </a:lnTo>
                  <a:lnTo>
                    <a:pt x="710" y="1216"/>
                  </a:lnTo>
                  <a:lnTo>
                    <a:pt x="720" y="1255"/>
                  </a:lnTo>
                  <a:lnTo>
                    <a:pt x="731" y="1290"/>
                  </a:lnTo>
                  <a:lnTo>
                    <a:pt x="741" y="1322"/>
                  </a:lnTo>
                  <a:lnTo>
                    <a:pt x="750" y="1349"/>
                  </a:lnTo>
                  <a:lnTo>
                    <a:pt x="759" y="1374"/>
                  </a:lnTo>
                  <a:lnTo>
                    <a:pt x="762" y="1385"/>
                  </a:lnTo>
                  <a:lnTo>
                    <a:pt x="767" y="1395"/>
                  </a:lnTo>
                  <a:lnTo>
                    <a:pt x="770" y="1404"/>
                  </a:lnTo>
                  <a:lnTo>
                    <a:pt x="773" y="1411"/>
                  </a:lnTo>
                  <a:lnTo>
                    <a:pt x="776" y="1418"/>
                  </a:lnTo>
                  <a:lnTo>
                    <a:pt x="778" y="1424"/>
                  </a:lnTo>
                  <a:lnTo>
                    <a:pt x="779" y="1428"/>
                  </a:lnTo>
                  <a:lnTo>
                    <a:pt x="781" y="1431"/>
                  </a:lnTo>
                  <a:lnTo>
                    <a:pt x="781" y="1433"/>
                  </a:lnTo>
                  <a:lnTo>
                    <a:pt x="782" y="1434"/>
                  </a:lnTo>
                  <a:lnTo>
                    <a:pt x="782" y="1432"/>
                  </a:lnTo>
                  <a:lnTo>
                    <a:pt x="782" y="1427"/>
                  </a:lnTo>
                  <a:lnTo>
                    <a:pt x="783" y="1418"/>
                  </a:lnTo>
                  <a:lnTo>
                    <a:pt x="783" y="1407"/>
                  </a:lnTo>
                  <a:lnTo>
                    <a:pt x="784" y="1394"/>
                  </a:lnTo>
                  <a:lnTo>
                    <a:pt x="786" y="1377"/>
                  </a:lnTo>
                  <a:lnTo>
                    <a:pt x="788" y="1358"/>
                  </a:lnTo>
                  <a:lnTo>
                    <a:pt x="790" y="1337"/>
                  </a:lnTo>
                  <a:lnTo>
                    <a:pt x="792" y="1313"/>
                  </a:lnTo>
                  <a:lnTo>
                    <a:pt x="795" y="1288"/>
                  </a:lnTo>
                  <a:lnTo>
                    <a:pt x="799" y="1261"/>
                  </a:lnTo>
                  <a:lnTo>
                    <a:pt x="803" y="1231"/>
                  </a:lnTo>
                  <a:lnTo>
                    <a:pt x="808" y="1201"/>
                  </a:lnTo>
                  <a:lnTo>
                    <a:pt x="813" y="1169"/>
                  </a:lnTo>
                  <a:lnTo>
                    <a:pt x="818" y="1136"/>
                  </a:lnTo>
                  <a:lnTo>
                    <a:pt x="824" y="1102"/>
                  </a:lnTo>
                  <a:lnTo>
                    <a:pt x="839" y="1032"/>
                  </a:lnTo>
                  <a:lnTo>
                    <a:pt x="856" y="960"/>
                  </a:lnTo>
                  <a:lnTo>
                    <a:pt x="876" y="888"/>
                  </a:lnTo>
                  <a:lnTo>
                    <a:pt x="900" y="816"/>
                  </a:lnTo>
                  <a:lnTo>
                    <a:pt x="927" y="746"/>
                  </a:lnTo>
                  <a:lnTo>
                    <a:pt x="942" y="712"/>
                  </a:lnTo>
                  <a:lnTo>
                    <a:pt x="958" y="679"/>
                  </a:lnTo>
                  <a:lnTo>
                    <a:pt x="974" y="647"/>
                  </a:lnTo>
                  <a:lnTo>
                    <a:pt x="993" y="617"/>
                  </a:lnTo>
                  <a:lnTo>
                    <a:pt x="1011" y="588"/>
                  </a:lnTo>
                  <a:lnTo>
                    <a:pt x="1031" y="561"/>
                  </a:lnTo>
                  <a:lnTo>
                    <a:pt x="1055" y="533"/>
                  </a:lnTo>
                  <a:lnTo>
                    <a:pt x="1080" y="506"/>
                  </a:lnTo>
                  <a:lnTo>
                    <a:pt x="1107" y="480"/>
                  </a:lnTo>
                  <a:lnTo>
                    <a:pt x="1136" y="455"/>
                  </a:lnTo>
                  <a:lnTo>
                    <a:pt x="1165" y="433"/>
                  </a:lnTo>
                  <a:lnTo>
                    <a:pt x="1196" y="410"/>
                  </a:lnTo>
                  <a:lnTo>
                    <a:pt x="1228" y="389"/>
                  </a:lnTo>
                  <a:lnTo>
                    <a:pt x="1261" y="370"/>
                  </a:lnTo>
                  <a:lnTo>
                    <a:pt x="1295" y="351"/>
                  </a:lnTo>
                  <a:lnTo>
                    <a:pt x="1330" y="334"/>
                  </a:lnTo>
                  <a:lnTo>
                    <a:pt x="1403" y="302"/>
                  </a:lnTo>
                  <a:lnTo>
                    <a:pt x="1481" y="274"/>
                  </a:lnTo>
                  <a:lnTo>
                    <a:pt x="1560" y="249"/>
                  </a:lnTo>
                  <a:lnTo>
                    <a:pt x="1603" y="236"/>
                  </a:lnTo>
                  <a:lnTo>
                    <a:pt x="1646" y="221"/>
                  </a:lnTo>
                  <a:lnTo>
                    <a:pt x="1690" y="203"/>
                  </a:lnTo>
                  <a:lnTo>
                    <a:pt x="1736" y="184"/>
                  </a:lnTo>
                  <a:lnTo>
                    <a:pt x="1780" y="164"/>
                  </a:lnTo>
                  <a:lnTo>
                    <a:pt x="1825" y="143"/>
                  </a:lnTo>
                  <a:lnTo>
                    <a:pt x="1867" y="122"/>
                  </a:lnTo>
                  <a:lnTo>
                    <a:pt x="1907" y="101"/>
                  </a:lnTo>
                  <a:lnTo>
                    <a:pt x="1945" y="81"/>
                  </a:lnTo>
                  <a:lnTo>
                    <a:pt x="1981" y="63"/>
                  </a:lnTo>
                  <a:lnTo>
                    <a:pt x="1996" y="54"/>
                  </a:lnTo>
                  <a:lnTo>
                    <a:pt x="2012" y="45"/>
                  </a:lnTo>
                  <a:lnTo>
                    <a:pt x="2026" y="37"/>
                  </a:lnTo>
                  <a:lnTo>
                    <a:pt x="2038" y="30"/>
                  </a:lnTo>
                  <a:lnTo>
                    <a:pt x="2050" y="24"/>
                  </a:lnTo>
                  <a:lnTo>
                    <a:pt x="2060" y="18"/>
                  </a:lnTo>
                  <a:lnTo>
                    <a:pt x="2069" y="12"/>
                  </a:lnTo>
                  <a:lnTo>
                    <a:pt x="2077" y="8"/>
                  </a:lnTo>
                  <a:lnTo>
                    <a:pt x="2083" y="4"/>
                  </a:lnTo>
                  <a:lnTo>
                    <a:pt x="2087" y="2"/>
                  </a:lnTo>
                  <a:lnTo>
                    <a:pt x="2090" y="0"/>
                  </a:lnTo>
                  <a:lnTo>
                    <a:pt x="20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DE98A571-5A30-4C43-8EC9-BBE5278533B5}"/>
              </a:ext>
            </a:extLst>
          </p:cNvPr>
          <p:cNvGrpSpPr/>
          <p:nvPr/>
        </p:nvGrpSpPr>
        <p:grpSpPr>
          <a:xfrm>
            <a:off x="10651930" y="2933595"/>
            <a:ext cx="496622" cy="378062"/>
            <a:chOff x="2502877" y="2643553"/>
            <a:chExt cx="3651737" cy="2779942"/>
          </a:xfrm>
        </p:grpSpPr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AA201B79-48DF-4CE1-A660-76EE2C933301}"/>
                </a:ext>
              </a:extLst>
            </p:cNvPr>
            <p:cNvCxnSpPr>
              <a:cxnSpLocks/>
            </p:cNvCxnSpPr>
            <p:nvPr/>
          </p:nvCxnSpPr>
          <p:spPr>
            <a:xfrm>
              <a:off x="3303655" y="4505747"/>
              <a:ext cx="0" cy="917748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Connector 319">
              <a:extLst>
                <a:ext uri="{FF2B5EF4-FFF2-40B4-BE49-F238E27FC236}">
                  <a16:creationId xmlns:a16="http://schemas.microsoft.com/office/drawing/2014/main" id="{87DFF8DA-748D-4A42-A1BC-3EA296E54544}"/>
                </a:ext>
              </a:extLst>
            </p:cNvPr>
            <p:cNvCxnSpPr>
              <a:cxnSpLocks/>
            </p:cNvCxnSpPr>
            <p:nvPr/>
          </p:nvCxnSpPr>
          <p:spPr>
            <a:xfrm>
              <a:off x="3983069" y="3734649"/>
              <a:ext cx="0" cy="1688846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>
              <a:extLst>
                <a:ext uri="{FF2B5EF4-FFF2-40B4-BE49-F238E27FC236}">
                  <a16:creationId xmlns:a16="http://schemas.microsoft.com/office/drawing/2014/main" id="{1A88BE1F-D84C-49A8-AD37-F96D49F689A6}"/>
                </a:ext>
              </a:extLst>
            </p:cNvPr>
            <p:cNvCxnSpPr>
              <a:cxnSpLocks/>
            </p:cNvCxnSpPr>
            <p:nvPr/>
          </p:nvCxnSpPr>
          <p:spPr>
            <a:xfrm>
              <a:off x="4662482" y="4051603"/>
              <a:ext cx="0" cy="1371892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19F5BE5D-B2E8-4AE9-98BD-5CB0BFF18C6D}"/>
                </a:ext>
              </a:extLst>
            </p:cNvPr>
            <p:cNvCxnSpPr>
              <a:cxnSpLocks/>
            </p:cNvCxnSpPr>
            <p:nvPr/>
          </p:nvCxnSpPr>
          <p:spPr>
            <a:xfrm>
              <a:off x="5330632" y="3185667"/>
              <a:ext cx="0" cy="2237828"/>
            </a:xfrm>
            <a:prstGeom prst="line">
              <a:avLst/>
            </a:prstGeom>
            <a:ln w="12700" cap="rnd">
              <a:solidFill>
                <a:schemeClr val="accent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3" name="Freeform: Shape 581">
              <a:extLst>
                <a:ext uri="{FF2B5EF4-FFF2-40B4-BE49-F238E27FC236}">
                  <a16:creationId xmlns:a16="http://schemas.microsoft.com/office/drawing/2014/main" id="{7FD3112F-1B1F-4DA6-A031-491CA8167398}"/>
                </a:ext>
              </a:extLst>
            </p:cNvPr>
            <p:cNvSpPr/>
            <p:nvPr/>
          </p:nvSpPr>
          <p:spPr bwMode="auto">
            <a:xfrm>
              <a:off x="2502877" y="2643553"/>
              <a:ext cx="3651737" cy="2288931"/>
            </a:xfrm>
            <a:custGeom>
              <a:avLst/>
              <a:gdLst>
                <a:gd name="connsiteX0" fmla="*/ 396145 w 3651737"/>
                <a:gd name="connsiteY0" fmla="*/ 0 h 2582009"/>
                <a:gd name="connsiteX1" fmla="*/ 3255592 w 3651737"/>
                <a:gd name="connsiteY1" fmla="*/ 0 h 2582009"/>
                <a:gd name="connsiteX2" fmla="*/ 3651737 w 3651737"/>
                <a:gd name="connsiteY2" fmla="*/ 396145 h 2582009"/>
                <a:gd name="connsiteX3" fmla="*/ 3651737 w 3651737"/>
                <a:gd name="connsiteY3" fmla="*/ 1892786 h 2582009"/>
                <a:gd name="connsiteX4" fmla="*/ 3255592 w 3651737"/>
                <a:gd name="connsiteY4" fmla="*/ 2288931 h 2582009"/>
                <a:gd name="connsiteX5" fmla="*/ 3196003 w 3651737"/>
                <a:gd name="connsiteY5" fmla="*/ 2288931 h 2582009"/>
                <a:gd name="connsiteX6" fmla="*/ 3196003 w 3651737"/>
                <a:gd name="connsiteY6" fmla="*/ 2582009 h 2582009"/>
                <a:gd name="connsiteX7" fmla="*/ 455734 w 3651737"/>
                <a:gd name="connsiteY7" fmla="*/ 2582009 h 2582009"/>
                <a:gd name="connsiteX8" fmla="*/ 455734 w 3651737"/>
                <a:gd name="connsiteY8" fmla="*/ 2288931 h 2582009"/>
                <a:gd name="connsiteX9" fmla="*/ 396145 w 3651737"/>
                <a:gd name="connsiteY9" fmla="*/ 2288931 h 2582009"/>
                <a:gd name="connsiteX10" fmla="*/ 0 w 3651737"/>
                <a:gd name="connsiteY10" fmla="*/ 1892786 h 2582009"/>
                <a:gd name="connsiteX11" fmla="*/ 0 w 3651737"/>
                <a:gd name="connsiteY11" fmla="*/ 396145 h 2582009"/>
                <a:gd name="connsiteX12" fmla="*/ 396145 w 3651737"/>
                <a:gd name="connsiteY12" fmla="*/ 0 h 2582009"/>
                <a:gd name="connsiteX0" fmla="*/ 455734 w 3651737"/>
                <a:gd name="connsiteY0" fmla="*/ 2582009 h 2673449"/>
                <a:gd name="connsiteX1" fmla="*/ 455734 w 3651737"/>
                <a:gd name="connsiteY1" fmla="*/ 2288931 h 2673449"/>
                <a:gd name="connsiteX2" fmla="*/ 396145 w 3651737"/>
                <a:gd name="connsiteY2" fmla="*/ 2288931 h 2673449"/>
                <a:gd name="connsiteX3" fmla="*/ 0 w 3651737"/>
                <a:gd name="connsiteY3" fmla="*/ 1892786 h 2673449"/>
                <a:gd name="connsiteX4" fmla="*/ 0 w 3651737"/>
                <a:gd name="connsiteY4" fmla="*/ 396145 h 2673449"/>
                <a:gd name="connsiteX5" fmla="*/ 396145 w 3651737"/>
                <a:gd name="connsiteY5" fmla="*/ 0 h 2673449"/>
                <a:gd name="connsiteX6" fmla="*/ 3255592 w 3651737"/>
                <a:gd name="connsiteY6" fmla="*/ 0 h 2673449"/>
                <a:gd name="connsiteX7" fmla="*/ 3651737 w 3651737"/>
                <a:gd name="connsiteY7" fmla="*/ 396145 h 2673449"/>
                <a:gd name="connsiteX8" fmla="*/ 3651737 w 3651737"/>
                <a:gd name="connsiteY8" fmla="*/ 1892786 h 2673449"/>
                <a:gd name="connsiteX9" fmla="*/ 3255592 w 3651737"/>
                <a:gd name="connsiteY9" fmla="*/ 2288931 h 2673449"/>
                <a:gd name="connsiteX10" fmla="*/ 3196003 w 3651737"/>
                <a:gd name="connsiteY10" fmla="*/ 2288931 h 2673449"/>
                <a:gd name="connsiteX11" fmla="*/ 3196003 w 3651737"/>
                <a:gd name="connsiteY11" fmla="*/ 2582009 h 2673449"/>
                <a:gd name="connsiteX12" fmla="*/ 547174 w 3651737"/>
                <a:gd name="connsiteY12" fmla="*/ 2673449 h 2673449"/>
                <a:gd name="connsiteX0" fmla="*/ 455734 w 3651737"/>
                <a:gd name="connsiteY0" fmla="*/ 2582009 h 2582009"/>
                <a:gd name="connsiteX1" fmla="*/ 455734 w 3651737"/>
                <a:gd name="connsiteY1" fmla="*/ 2288931 h 2582009"/>
                <a:gd name="connsiteX2" fmla="*/ 396145 w 3651737"/>
                <a:gd name="connsiteY2" fmla="*/ 2288931 h 2582009"/>
                <a:gd name="connsiteX3" fmla="*/ 0 w 3651737"/>
                <a:gd name="connsiteY3" fmla="*/ 1892786 h 2582009"/>
                <a:gd name="connsiteX4" fmla="*/ 0 w 3651737"/>
                <a:gd name="connsiteY4" fmla="*/ 396145 h 2582009"/>
                <a:gd name="connsiteX5" fmla="*/ 396145 w 3651737"/>
                <a:gd name="connsiteY5" fmla="*/ 0 h 2582009"/>
                <a:gd name="connsiteX6" fmla="*/ 3255592 w 3651737"/>
                <a:gd name="connsiteY6" fmla="*/ 0 h 2582009"/>
                <a:gd name="connsiteX7" fmla="*/ 3651737 w 3651737"/>
                <a:gd name="connsiteY7" fmla="*/ 396145 h 2582009"/>
                <a:gd name="connsiteX8" fmla="*/ 3651737 w 3651737"/>
                <a:gd name="connsiteY8" fmla="*/ 1892786 h 2582009"/>
                <a:gd name="connsiteX9" fmla="*/ 3255592 w 3651737"/>
                <a:gd name="connsiteY9" fmla="*/ 2288931 h 2582009"/>
                <a:gd name="connsiteX10" fmla="*/ 3196003 w 3651737"/>
                <a:gd name="connsiteY10" fmla="*/ 2288931 h 2582009"/>
                <a:gd name="connsiteX11" fmla="*/ 3196003 w 3651737"/>
                <a:gd name="connsiteY11" fmla="*/ 2582009 h 2582009"/>
                <a:gd name="connsiteX0" fmla="*/ 455734 w 3651737"/>
                <a:gd name="connsiteY0" fmla="*/ 2288931 h 2582009"/>
                <a:gd name="connsiteX1" fmla="*/ 396145 w 3651737"/>
                <a:gd name="connsiteY1" fmla="*/ 2288931 h 2582009"/>
                <a:gd name="connsiteX2" fmla="*/ 0 w 3651737"/>
                <a:gd name="connsiteY2" fmla="*/ 1892786 h 2582009"/>
                <a:gd name="connsiteX3" fmla="*/ 0 w 3651737"/>
                <a:gd name="connsiteY3" fmla="*/ 396145 h 2582009"/>
                <a:gd name="connsiteX4" fmla="*/ 396145 w 3651737"/>
                <a:gd name="connsiteY4" fmla="*/ 0 h 2582009"/>
                <a:gd name="connsiteX5" fmla="*/ 3255592 w 3651737"/>
                <a:gd name="connsiteY5" fmla="*/ 0 h 2582009"/>
                <a:gd name="connsiteX6" fmla="*/ 3651737 w 3651737"/>
                <a:gd name="connsiteY6" fmla="*/ 396145 h 2582009"/>
                <a:gd name="connsiteX7" fmla="*/ 3651737 w 3651737"/>
                <a:gd name="connsiteY7" fmla="*/ 1892786 h 2582009"/>
                <a:gd name="connsiteX8" fmla="*/ 3255592 w 3651737"/>
                <a:gd name="connsiteY8" fmla="*/ 2288931 h 2582009"/>
                <a:gd name="connsiteX9" fmla="*/ 3196003 w 3651737"/>
                <a:gd name="connsiteY9" fmla="*/ 2288931 h 2582009"/>
                <a:gd name="connsiteX10" fmla="*/ 3196003 w 3651737"/>
                <a:gd name="connsiteY10" fmla="*/ 2582009 h 2582009"/>
                <a:gd name="connsiteX0" fmla="*/ 455734 w 3651737"/>
                <a:gd name="connsiteY0" fmla="*/ 2288931 h 2288931"/>
                <a:gd name="connsiteX1" fmla="*/ 396145 w 3651737"/>
                <a:gd name="connsiteY1" fmla="*/ 2288931 h 2288931"/>
                <a:gd name="connsiteX2" fmla="*/ 0 w 3651737"/>
                <a:gd name="connsiteY2" fmla="*/ 1892786 h 2288931"/>
                <a:gd name="connsiteX3" fmla="*/ 0 w 3651737"/>
                <a:gd name="connsiteY3" fmla="*/ 396145 h 2288931"/>
                <a:gd name="connsiteX4" fmla="*/ 396145 w 3651737"/>
                <a:gd name="connsiteY4" fmla="*/ 0 h 2288931"/>
                <a:gd name="connsiteX5" fmla="*/ 3255592 w 3651737"/>
                <a:gd name="connsiteY5" fmla="*/ 0 h 2288931"/>
                <a:gd name="connsiteX6" fmla="*/ 3651737 w 3651737"/>
                <a:gd name="connsiteY6" fmla="*/ 396145 h 2288931"/>
                <a:gd name="connsiteX7" fmla="*/ 3651737 w 3651737"/>
                <a:gd name="connsiteY7" fmla="*/ 1892786 h 2288931"/>
                <a:gd name="connsiteX8" fmla="*/ 3255592 w 3651737"/>
                <a:gd name="connsiteY8" fmla="*/ 2288931 h 2288931"/>
                <a:gd name="connsiteX9" fmla="*/ 3196003 w 3651737"/>
                <a:gd name="connsiteY9" fmla="*/ 2288931 h 2288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51737" h="2288931">
                  <a:moveTo>
                    <a:pt x="455734" y="2288931"/>
                  </a:moveTo>
                  <a:lnTo>
                    <a:pt x="396145" y="2288931"/>
                  </a:lnTo>
                  <a:cubicBezTo>
                    <a:pt x="177360" y="2288931"/>
                    <a:pt x="0" y="2111571"/>
                    <a:pt x="0" y="1892786"/>
                  </a:cubicBezTo>
                  <a:lnTo>
                    <a:pt x="0" y="396145"/>
                  </a:lnTo>
                  <a:cubicBezTo>
                    <a:pt x="0" y="177360"/>
                    <a:pt x="177360" y="0"/>
                    <a:pt x="396145" y="0"/>
                  </a:cubicBezTo>
                  <a:lnTo>
                    <a:pt x="3255592" y="0"/>
                  </a:lnTo>
                  <a:cubicBezTo>
                    <a:pt x="3474377" y="0"/>
                    <a:pt x="3651737" y="177360"/>
                    <a:pt x="3651737" y="396145"/>
                  </a:cubicBezTo>
                  <a:lnTo>
                    <a:pt x="3651737" y="1892786"/>
                  </a:lnTo>
                  <a:cubicBezTo>
                    <a:pt x="3651737" y="2111571"/>
                    <a:pt x="3474377" y="2288931"/>
                    <a:pt x="3255592" y="2288931"/>
                  </a:cubicBezTo>
                  <a:lnTo>
                    <a:pt x="3196003" y="2288931"/>
                  </a:lnTo>
                </a:path>
              </a:pathLst>
            </a:cu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26" name="Freeform 2"/>
          <p:cNvSpPr>
            <a:spLocks noChangeArrowheads="1"/>
          </p:cNvSpPr>
          <p:nvPr/>
        </p:nvSpPr>
        <p:spPr bwMode="auto">
          <a:xfrm>
            <a:off x="2837398" y="1730364"/>
            <a:ext cx="6350000" cy="1260599"/>
          </a:xfrm>
          <a:prstGeom prst="rect">
            <a:avLst/>
          </a:prstGeom>
          <a:noFill/>
          <a:ln w="12700" cap="flat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329" name="Group 328"/>
          <p:cNvGrpSpPr/>
          <p:nvPr/>
        </p:nvGrpSpPr>
        <p:grpSpPr>
          <a:xfrm rot="16200000">
            <a:off x="7816827" y="3613269"/>
            <a:ext cx="3901792" cy="467102"/>
            <a:chOff x="3487387" y="4548246"/>
            <a:chExt cx="5217226" cy="653146"/>
          </a:xfrm>
        </p:grpSpPr>
        <p:sp>
          <p:nvSpPr>
            <p:cNvPr id="330" name="Freeform 329"/>
            <p:cNvSpPr/>
            <p:nvPr/>
          </p:nvSpPr>
          <p:spPr>
            <a:xfrm rot="10800000">
              <a:off x="3487387" y="4548246"/>
              <a:ext cx="5217226" cy="296885"/>
            </a:xfrm>
            <a:custGeom>
              <a:avLst/>
              <a:gdLst>
                <a:gd name="connsiteX0" fmla="*/ 0 w 9096498"/>
                <a:gd name="connsiteY0" fmla="*/ 356260 h 368135"/>
                <a:gd name="connsiteX1" fmla="*/ 0 w 9096498"/>
                <a:gd name="connsiteY1" fmla="*/ 0 h 368135"/>
                <a:gd name="connsiteX2" fmla="*/ 9096498 w 9096498"/>
                <a:gd name="connsiteY2" fmla="*/ 0 h 368135"/>
                <a:gd name="connsiteX3" fmla="*/ 9096498 w 9096498"/>
                <a:gd name="connsiteY3" fmla="*/ 368135 h 3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6498" h="368135">
                  <a:moveTo>
                    <a:pt x="0" y="356260"/>
                  </a:moveTo>
                  <a:lnTo>
                    <a:pt x="0" y="0"/>
                  </a:lnTo>
                  <a:lnTo>
                    <a:pt x="9096498" y="0"/>
                  </a:lnTo>
                  <a:lnTo>
                    <a:pt x="9096498" y="368135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331" name="Freeform 330"/>
            <p:cNvSpPr/>
            <p:nvPr/>
          </p:nvSpPr>
          <p:spPr>
            <a:xfrm flipH="1">
              <a:off x="6057373" y="4845131"/>
              <a:ext cx="45719" cy="356261"/>
            </a:xfrm>
            <a:custGeom>
              <a:avLst/>
              <a:gdLst>
                <a:gd name="connsiteX0" fmla="*/ 0 w 0"/>
                <a:gd name="connsiteY0" fmla="*/ 0 h 475013"/>
                <a:gd name="connsiteX1" fmla="*/ 0 w 0"/>
                <a:gd name="connsiteY1" fmla="*/ 475013 h 47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5013">
                  <a:moveTo>
                    <a:pt x="0" y="0"/>
                  </a:moveTo>
                  <a:lnTo>
                    <a:pt x="0" y="475013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157E86F5-3799-413F-865B-056B2239467C}"/>
              </a:ext>
            </a:extLst>
          </p:cNvPr>
          <p:cNvGrpSpPr/>
          <p:nvPr/>
        </p:nvGrpSpPr>
        <p:grpSpPr>
          <a:xfrm>
            <a:off x="8073976" y="4932273"/>
            <a:ext cx="610610" cy="484674"/>
            <a:chOff x="4223626" y="2353385"/>
            <a:chExt cx="1173971" cy="931848"/>
          </a:xfrm>
        </p:grpSpPr>
        <p:grpSp>
          <p:nvGrpSpPr>
            <p:cNvPr id="334" name="Group 333">
              <a:extLst>
                <a:ext uri="{FF2B5EF4-FFF2-40B4-BE49-F238E27FC236}">
                  <a16:creationId xmlns:a16="http://schemas.microsoft.com/office/drawing/2014/main" id="{A05C8CA7-5716-44F4-AA6C-F308105199AC}"/>
                </a:ext>
              </a:extLst>
            </p:cNvPr>
            <p:cNvGrpSpPr/>
            <p:nvPr/>
          </p:nvGrpSpPr>
          <p:grpSpPr>
            <a:xfrm>
              <a:off x="4273550" y="2402418"/>
              <a:ext cx="1079500" cy="840315"/>
              <a:chOff x="4273550" y="2402418"/>
              <a:chExt cx="1079500" cy="840315"/>
            </a:xfrm>
          </p:grpSpPr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5A851271-35B9-4567-8242-E3F912E057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355600" cy="23283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AB8BADB1-F06D-4556-BDB3-AC51BE1C02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296333" cy="721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5" name="Straight Connector 344">
                <a:extLst>
                  <a:ext uri="{FF2B5EF4-FFF2-40B4-BE49-F238E27FC236}">
                    <a16:creationId xmlns:a16="http://schemas.microsoft.com/office/drawing/2014/main" id="{FEDDF95B-3B64-4407-8297-89C1BA4C5D7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3143250"/>
                <a:ext cx="520700" cy="86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6" name="Straight Connector 345">
                <a:extLst>
                  <a:ext uri="{FF2B5EF4-FFF2-40B4-BE49-F238E27FC236}">
                    <a16:creationId xmlns:a16="http://schemas.microsoft.com/office/drawing/2014/main" id="{0024F100-B6BA-4A71-A159-2082E41BB8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39783" y="2641600"/>
                <a:ext cx="300567" cy="24130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7" name="Straight Connector 346">
                <a:extLst>
                  <a:ext uri="{FF2B5EF4-FFF2-40B4-BE49-F238E27FC236}">
                    <a16:creationId xmlns:a16="http://schemas.microsoft.com/office/drawing/2014/main" id="{14772615-86BD-40A8-A00C-9CA1E8D8AD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13250" y="2413001"/>
                <a:ext cx="571500" cy="126999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8" name="Straight Connector 347">
                <a:extLst>
                  <a:ext uri="{FF2B5EF4-FFF2-40B4-BE49-F238E27FC236}">
                    <a16:creationId xmlns:a16="http://schemas.microsoft.com/office/drawing/2014/main" id="{CE05E5C5-F516-4118-A018-0C2ABCE560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03233" y="2450099"/>
                <a:ext cx="251425" cy="248651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235FA8B6-0664-4D81-A0C3-041C91042D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402418"/>
                <a:ext cx="232833" cy="821265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0" name="Straight Connector 349">
                <a:extLst>
                  <a:ext uri="{FF2B5EF4-FFF2-40B4-BE49-F238E27FC236}">
                    <a16:creationId xmlns:a16="http://schemas.microsoft.com/office/drawing/2014/main" id="{293D7F10-2B40-4C3E-BC02-FB5F218DD71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273550" y="2984500"/>
                <a:ext cx="495300" cy="2518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6FAF40E5-CA9A-43A7-B678-5E15A8DC25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7483" y="2537884"/>
                <a:ext cx="647700" cy="338666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BA50FD9A-5E22-4AA7-ACA5-624DAD5EC5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77783" y="2874433"/>
                <a:ext cx="770467" cy="10795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3" name="Straight Connector 352">
                <a:extLst>
                  <a:ext uri="{FF2B5EF4-FFF2-40B4-BE49-F238E27FC236}">
                    <a16:creationId xmlns:a16="http://schemas.microsoft.com/office/drawing/2014/main" id="{4C194713-8DF4-472A-95E2-3008956F3DC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3250" y="2531533"/>
                <a:ext cx="353483" cy="698500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4" name="Straight Connector 353">
                <a:extLst>
                  <a:ext uri="{FF2B5EF4-FFF2-40B4-BE49-F238E27FC236}">
                    <a16:creationId xmlns:a16="http://schemas.microsoft.com/office/drawing/2014/main" id="{9D0988E2-D6D1-441A-984F-FCB82793B2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715933" y="2698750"/>
                <a:ext cx="50800" cy="5439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5" name="Straight Connector 354">
                <a:extLst>
                  <a:ext uri="{FF2B5EF4-FFF2-40B4-BE49-F238E27FC236}">
                    <a16:creationId xmlns:a16="http://schemas.microsoft.com/office/drawing/2014/main" id="{BFBF1C9C-0CC3-4886-AB32-C611A6480AB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052483" y="2899834"/>
                <a:ext cx="234950" cy="218016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64E2F12D-BF5C-41F8-98EE-C153F2CDD2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876550"/>
                <a:ext cx="292101" cy="340783"/>
              </a:xfrm>
              <a:prstGeom prst="line">
                <a:avLst/>
              </a:prstGeom>
              <a:noFill/>
              <a:ln w="12700" cap="rnd">
                <a:solidFill>
                  <a:schemeClr val="accent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sp useBgFill="1">
          <p:nvSpPr>
            <p:cNvPr id="335" name="Oval 19">
              <a:extLst>
                <a:ext uri="{FF2B5EF4-FFF2-40B4-BE49-F238E27FC236}">
                  <a16:creationId xmlns:a16="http://schemas.microsoft.com/office/drawing/2014/main" id="{B69A7114-346D-4E1F-8316-C9F674D43B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065" y="2353385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6" name="Oval 19">
              <a:extLst>
                <a:ext uri="{FF2B5EF4-FFF2-40B4-BE49-F238E27FC236}">
                  <a16:creationId xmlns:a16="http://schemas.microsoft.com/office/drawing/2014/main" id="{829E95C8-0BE7-4934-BBA0-764CFC133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4290" y="2582712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7" name="Oval 19">
              <a:extLst>
                <a:ext uri="{FF2B5EF4-FFF2-40B4-BE49-F238E27FC236}">
                  <a16:creationId xmlns:a16="http://schemas.microsoft.com/office/drawing/2014/main" id="{018D398B-43FE-4715-8E00-9755FF081E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571" y="2824202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8" name="Oval 19">
              <a:extLst>
                <a:ext uri="{FF2B5EF4-FFF2-40B4-BE49-F238E27FC236}">
                  <a16:creationId xmlns:a16="http://schemas.microsoft.com/office/drawing/2014/main" id="{C3354846-2B08-490E-8CC7-713F631A2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637" y="3071688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39" name="Oval 19">
              <a:extLst>
                <a:ext uri="{FF2B5EF4-FFF2-40B4-BE49-F238E27FC236}">
                  <a16:creationId xmlns:a16="http://schemas.microsoft.com/office/drawing/2014/main" id="{D1CBB913-D1AD-48D0-BE4A-7FBEA08A9A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3544" y="3171926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0" name="Oval 19">
              <a:extLst>
                <a:ext uri="{FF2B5EF4-FFF2-40B4-BE49-F238E27FC236}">
                  <a16:creationId xmlns:a16="http://schemas.microsoft.com/office/drawing/2014/main" id="{C1B58B5E-4C1F-4ADC-AA6C-FC2ABE032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3626" y="2924064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1" name="Oval 19">
              <a:extLst>
                <a:ext uri="{FF2B5EF4-FFF2-40B4-BE49-F238E27FC236}">
                  <a16:creationId xmlns:a16="http://schemas.microsoft.com/office/drawing/2014/main" id="{CFB2AEFE-8939-4180-9B35-944BDC81CF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5543" y="2638231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 useBgFill="1">
          <p:nvSpPr>
            <p:cNvPr id="342" name="Oval 19">
              <a:extLst>
                <a:ext uri="{FF2B5EF4-FFF2-40B4-BE49-F238E27FC236}">
                  <a16:creationId xmlns:a16="http://schemas.microsoft.com/office/drawing/2014/main" id="{09010101-87A4-4BE3-A0A0-3F72B3CAD0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3387" y="2482918"/>
              <a:ext cx="113307" cy="113307"/>
            </a:xfrm>
            <a:prstGeom prst="ellipse">
              <a:avLst/>
            </a:prstGeom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7985" y="4946317"/>
            <a:ext cx="800100" cy="418494"/>
          </a:xfrm>
          <a:prstGeom prst="rect">
            <a:avLst/>
          </a:prstGeom>
        </p:spPr>
      </p:pic>
      <p:grpSp>
        <p:nvGrpSpPr>
          <p:cNvPr id="357" name="Group 356"/>
          <p:cNvGrpSpPr/>
          <p:nvPr/>
        </p:nvGrpSpPr>
        <p:grpSpPr>
          <a:xfrm rot="16200000">
            <a:off x="308610" y="3511904"/>
            <a:ext cx="3947815" cy="467102"/>
            <a:chOff x="3487387" y="4548246"/>
            <a:chExt cx="5217226" cy="653146"/>
          </a:xfrm>
        </p:grpSpPr>
        <p:sp>
          <p:nvSpPr>
            <p:cNvPr id="358" name="Freeform 357"/>
            <p:cNvSpPr/>
            <p:nvPr/>
          </p:nvSpPr>
          <p:spPr>
            <a:xfrm rot="10800000">
              <a:off x="3487387" y="4548246"/>
              <a:ext cx="5217226" cy="296885"/>
            </a:xfrm>
            <a:custGeom>
              <a:avLst/>
              <a:gdLst>
                <a:gd name="connsiteX0" fmla="*/ 0 w 9096498"/>
                <a:gd name="connsiteY0" fmla="*/ 356260 h 368135"/>
                <a:gd name="connsiteX1" fmla="*/ 0 w 9096498"/>
                <a:gd name="connsiteY1" fmla="*/ 0 h 368135"/>
                <a:gd name="connsiteX2" fmla="*/ 9096498 w 9096498"/>
                <a:gd name="connsiteY2" fmla="*/ 0 h 368135"/>
                <a:gd name="connsiteX3" fmla="*/ 9096498 w 9096498"/>
                <a:gd name="connsiteY3" fmla="*/ 368135 h 36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96498" h="368135">
                  <a:moveTo>
                    <a:pt x="0" y="356260"/>
                  </a:moveTo>
                  <a:lnTo>
                    <a:pt x="0" y="0"/>
                  </a:lnTo>
                  <a:lnTo>
                    <a:pt x="9096498" y="0"/>
                  </a:lnTo>
                  <a:lnTo>
                    <a:pt x="9096498" y="368135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359" name="Freeform 358"/>
            <p:cNvSpPr/>
            <p:nvPr/>
          </p:nvSpPr>
          <p:spPr>
            <a:xfrm flipH="1">
              <a:off x="6057373" y="4845131"/>
              <a:ext cx="45719" cy="356261"/>
            </a:xfrm>
            <a:custGeom>
              <a:avLst/>
              <a:gdLst>
                <a:gd name="connsiteX0" fmla="*/ 0 w 0"/>
                <a:gd name="connsiteY0" fmla="*/ 0 h 475013"/>
                <a:gd name="connsiteX1" fmla="*/ 0 w 0"/>
                <a:gd name="connsiteY1" fmla="*/ 475013 h 47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475013">
                  <a:moveTo>
                    <a:pt x="0" y="0"/>
                  </a:moveTo>
                  <a:lnTo>
                    <a:pt x="0" y="475013"/>
                  </a:lnTo>
                </a:path>
              </a:pathLst>
            </a:custGeom>
            <a:noFill/>
            <a:ln>
              <a:solidFill>
                <a:schemeClr val="accent4"/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080442" y="1874678"/>
            <a:ext cx="388896" cy="593152"/>
            <a:chOff x="952162" y="1304149"/>
            <a:chExt cx="630602" cy="961807"/>
          </a:xfrm>
          <a:noFill/>
        </p:grpSpPr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421523C8-5C73-4065-8241-E6B5788AE66D}"/>
                </a:ext>
              </a:extLst>
            </p:cNvPr>
            <p:cNvGrpSpPr/>
            <p:nvPr/>
          </p:nvGrpSpPr>
          <p:grpSpPr>
            <a:xfrm rot="18900000">
              <a:off x="952162" y="1304149"/>
              <a:ext cx="630602" cy="634379"/>
              <a:chOff x="7855882" y="2876917"/>
              <a:chExt cx="186983" cy="188103"/>
            </a:xfrm>
            <a:grpFill/>
          </p:grpSpPr>
          <p:sp>
            <p:nvSpPr>
              <p:cNvPr id="171" name="Freeform 99">
                <a:extLst>
                  <a:ext uri="{FF2B5EF4-FFF2-40B4-BE49-F238E27FC236}">
                    <a16:creationId xmlns:a16="http://schemas.microsoft.com/office/drawing/2014/main" id="{82403A1B-46A8-496D-97A1-D6CD69725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951934"/>
                <a:ext cx="111966" cy="113086"/>
              </a:xfrm>
              <a:custGeom>
                <a:avLst/>
                <a:gdLst>
                  <a:gd name="T0" fmla="*/ 0 w 46"/>
                  <a:gd name="T1" fmla="*/ 0 h 47"/>
                  <a:gd name="T2" fmla="*/ 46 w 46"/>
                  <a:gd name="T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6" h="47">
                    <a:moveTo>
                      <a:pt x="0" y="0"/>
                    </a:moveTo>
                    <a:cubicBezTo>
                      <a:pt x="25" y="0"/>
                      <a:pt x="46" y="21"/>
                      <a:pt x="46" y="47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2" name="Freeform 100">
                <a:extLst>
                  <a:ext uri="{FF2B5EF4-FFF2-40B4-BE49-F238E27FC236}">
                    <a16:creationId xmlns:a16="http://schemas.microsoft.com/office/drawing/2014/main" id="{4955A11D-DC58-4772-9411-DE2AE3195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916105"/>
                <a:ext cx="150035" cy="148915"/>
              </a:xfrm>
              <a:custGeom>
                <a:avLst/>
                <a:gdLst>
                  <a:gd name="T0" fmla="*/ 0 w 62"/>
                  <a:gd name="T1" fmla="*/ 0 h 62"/>
                  <a:gd name="T2" fmla="*/ 62 w 62"/>
                  <a:gd name="T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2" h="62">
                    <a:moveTo>
                      <a:pt x="0" y="0"/>
                    </a:moveTo>
                    <a:cubicBezTo>
                      <a:pt x="34" y="0"/>
                      <a:pt x="62" y="27"/>
                      <a:pt x="62" y="62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73" name="Freeform 101">
                <a:extLst>
                  <a:ext uri="{FF2B5EF4-FFF2-40B4-BE49-F238E27FC236}">
                    <a16:creationId xmlns:a16="http://schemas.microsoft.com/office/drawing/2014/main" id="{DB0A5B1D-F31E-4BE1-9830-C9C3C44A2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882" y="2876917"/>
                <a:ext cx="186983" cy="188103"/>
              </a:xfrm>
              <a:custGeom>
                <a:avLst/>
                <a:gdLst>
                  <a:gd name="T0" fmla="*/ 0 w 77"/>
                  <a:gd name="T1" fmla="*/ 0 h 78"/>
                  <a:gd name="T2" fmla="*/ 77 w 77"/>
                  <a:gd name="T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7" h="78">
                    <a:moveTo>
                      <a:pt x="0" y="0"/>
                    </a:moveTo>
                    <a:cubicBezTo>
                      <a:pt x="42" y="0"/>
                      <a:pt x="77" y="35"/>
                      <a:pt x="77" y="78"/>
                    </a:cubicBez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5" name="Oval 4"/>
            <p:cNvSpPr/>
            <p:nvPr/>
          </p:nvSpPr>
          <p:spPr>
            <a:xfrm flipV="1">
              <a:off x="1084304" y="1899638"/>
              <a:ext cx="366318" cy="366318"/>
            </a:xfrm>
            <a:prstGeom prst="ellipse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02770" y="2948780"/>
            <a:ext cx="829640" cy="459762"/>
            <a:chOff x="603432" y="2974623"/>
            <a:chExt cx="829640" cy="459762"/>
          </a:xfrm>
        </p:grpSpPr>
        <p:sp>
          <p:nvSpPr>
            <p:cNvPr id="176" name="Freeform 146">
              <a:extLst>
                <a:ext uri="{FF2B5EF4-FFF2-40B4-BE49-F238E27FC236}">
                  <a16:creationId xmlns:a16="http://schemas.microsoft.com/office/drawing/2014/main" id="{8584423E-DC4D-476D-A3D6-22901C3C02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3432" y="2974623"/>
              <a:ext cx="485330" cy="307364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203" name="Freeform 146">
              <a:extLst>
                <a:ext uri="{FF2B5EF4-FFF2-40B4-BE49-F238E27FC236}">
                  <a16:creationId xmlns:a16="http://schemas.microsoft.com/office/drawing/2014/main" id="{8584423E-DC4D-476D-A3D6-22901C3C02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99900" y="3033391"/>
              <a:ext cx="633172" cy="400994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2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 panose="020B0402040204020203" pitchFamily="34" charset="0"/>
                <a:ea typeface="Segoe UI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165" name="TextBox 164">
            <a:extLst>
              <a:ext uri="{FF2B5EF4-FFF2-40B4-BE49-F238E27FC236}">
                <a16:creationId xmlns:a16="http://schemas.microsoft.com/office/drawing/2014/main" id="{0DC26B6F-BE7E-4BB0-B7F6-BD86F96475CE}"/>
              </a:ext>
            </a:extLst>
          </p:cNvPr>
          <p:cNvSpPr txBox="1"/>
          <p:nvPr/>
        </p:nvSpPr>
        <p:spPr>
          <a:xfrm>
            <a:off x="9990188" y="5670351"/>
            <a:ext cx="17797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warehouses</a:t>
            </a: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329D6182-2959-48F8-AEDB-BB4B108D1668}"/>
              </a:ext>
            </a:extLst>
          </p:cNvPr>
          <p:cNvGrpSpPr/>
          <p:nvPr/>
        </p:nvGrpSpPr>
        <p:grpSpPr>
          <a:xfrm>
            <a:off x="10641992" y="5204216"/>
            <a:ext cx="476134" cy="467582"/>
            <a:chOff x="2549926" y="1227604"/>
            <a:chExt cx="5177116" cy="5084148"/>
          </a:xfrm>
        </p:grpSpPr>
        <p:sp>
          <p:nvSpPr>
            <p:cNvPr id="167" name="Freeform: Shape 583">
              <a:extLst>
                <a:ext uri="{FF2B5EF4-FFF2-40B4-BE49-F238E27FC236}">
                  <a16:creationId xmlns:a16="http://schemas.microsoft.com/office/drawing/2014/main" id="{D41FA54A-BF28-42C1-BAB5-00F77F2BE36E}"/>
                </a:ext>
              </a:extLst>
            </p:cNvPr>
            <p:cNvSpPr/>
            <p:nvPr/>
          </p:nvSpPr>
          <p:spPr bwMode="auto">
            <a:xfrm>
              <a:off x="2549926" y="1227604"/>
              <a:ext cx="4001268" cy="3614059"/>
            </a:xfrm>
            <a:custGeom>
              <a:avLst/>
              <a:gdLst>
                <a:gd name="connsiteX0" fmla="*/ 2000634 w 4001268"/>
                <a:gd name="connsiteY0" fmla="*/ 0 h 3614059"/>
                <a:gd name="connsiteX1" fmla="*/ 4001268 w 4001268"/>
                <a:gd name="connsiteY1" fmla="*/ 1445188 h 3614059"/>
                <a:gd name="connsiteX2" fmla="*/ 3659101 w 4001268"/>
                <a:gd name="connsiteY2" fmla="*/ 1445188 h 3614059"/>
                <a:gd name="connsiteX3" fmla="*/ 3659101 w 4001268"/>
                <a:gd name="connsiteY3" fmla="*/ 3614059 h 3614059"/>
                <a:gd name="connsiteX4" fmla="*/ 3372234 w 4001268"/>
                <a:gd name="connsiteY4" fmla="*/ 3614059 h 3614059"/>
                <a:gd name="connsiteX5" fmla="*/ 3372234 w 4001268"/>
                <a:gd name="connsiteY5" fmla="*/ 1559139 h 3614059"/>
                <a:gd name="connsiteX6" fmla="*/ 629034 w 4001268"/>
                <a:gd name="connsiteY6" fmla="*/ 1559139 h 3614059"/>
                <a:gd name="connsiteX7" fmla="*/ 629034 w 4001268"/>
                <a:gd name="connsiteY7" fmla="*/ 3614059 h 3614059"/>
                <a:gd name="connsiteX8" fmla="*/ 342168 w 4001268"/>
                <a:gd name="connsiteY8" fmla="*/ 3614059 h 3614059"/>
                <a:gd name="connsiteX9" fmla="*/ 342168 w 4001268"/>
                <a:gd name="connsiteY9" fmla="*/ 1445188 h 3614059"/>
                <a:gd name="connsiteX10" fmla="*/ 0 w 4001268"/>
                <a:gd name="connsiteY10" fmla="*/ 1445188 h 3614059"/>
                <a:gd name="connsiteX11" fmla="*/ 2000634 w 4001268"/>
                <a:gd name="connsiteY11" fmla="*/ 0 h 361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01268" h="3614059">
                  <a:moveTo>
                    <a:pt x="2000634" y="0"/>
                  </a:moveTo>
                  <a:lnTo>
                    <a:pt x="4001268" y="1445188"/>
                  </a:lnTo>
                  <a:lnTo>
                    <a:pt x="3659101" y="1445188"/>
                  </a:lnTo>
                  <a:lnTo>
                    <a:pt x="3659101" y="3614059"/>
                  </a:lnTo>
                  <a:lnTo>
                    <a:pt x="3372234" y="3614059"/>
                  </a:lnTo>
                  <a:lnTo>
                    <a:pt x="3372234" y="1559139"/>
                  </a:lnTo>
                  <a:lnTo>
                    <a:pt x="629034" y="1559139"/>
                  </a:lnTo>
                  <a:lnTo>
                    <a:pt x="629034" y="3614059"/>
                  </a:lnTo>
                  <a:lnTo>
                    <a:pt x="342168" y="3614059"/>
                  </a:lnTo>
                  <a:lnTo>
                    <a:pt x="342168" y="1445188"/>
                  </a:lnTo>
                  <a:lnTo>
                    <a:pt x="0" y="1445188"/>
                  </a:lnTo>
                  <a:lnTo>
                    <a:pt x="2000634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EF12A1BF-A814-4491-97D6-31BAC827D32B}"/>
                </a:ext>
              </a:extLst>
            </p:cNvPr>
            <p:cNvSpPr/>
            <p:nvPr/>
          </p:nvSpPr>
          <p:spPr bwMode="auto">
            <a:xfrm>
              <a:off x="3364798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CE25C6EB-E7AE-47CE-AF01-64A9FFD04266}"/>
                </a:ext>
              </a:extLst>
            </p:cNvPr>
            <p:cNvSpPr/>
            <p:nvPr/>
          </p:nvSpPr>
          <p:spPr bwMode="auto">
            <a:xfrm>
              <a:off x="3968585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B0854FBD-403C-4B0D-B2BB-E9D2C2068322}"/>
                </a:ext>
              </a:extLst>
            </p:cNvPr>
            <p:cNvSpPr/>
            <p:nvPr/>
          </p:nvSpPr>
          <p:spPr bwMode="auto">
            <a:xfrm>
              <a:off x="4572371" y="4227868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4F75DB51-D6A0-4425-97A8-C6F1D00838E8}"/>
                </a:ext>
              </a:extLst>
            </p:cNvPr>
            <p:cNvSpPr/>
            <p:nvPr/>
          </p:nvSpPr>
          <p:spPr bwMode="auto">
            <a:xfrm>
              <a:off x="3364798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1ED2B57A-8299-4302-AC8F-62DC4E4925DE}"/>
                </a:ext>
              </a:extLst>
            </p:cNvPr>
            <p:cNvSpPr/>
            <p:nvPr/>
          </p:nvSpPr>
          <p:spPr bwMode="auto">
            <a:xfrm>
              <a:off x="3968585" y="3624080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453BE61B-3648-4CA6-ACC9-9F37A2D6D604}"/>
                </a:ext>
              </a:extLst>
            </p:cNvPr>
            <p:cNvSpPr/>
            <p:nvPr/>
          </p:nvSpPr>
          <p:spPr bwMode="auto">
            <a:xfrm>
              <a:off x="3777367" y="3020291"/>
              <a:ext cx="603787" cy="603789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0" name="Cylinder 590">
              <a:extLst>
                <a:ext uri="{FF2B5EF4-FFF2-40B4-BE49-F238E27FC236}">
                  <a16:creationId xmlns:a16="http://schemas.microsoft.com/office/drawing/2014/main" id="{DA454E18-FC30-45FC-9B5D-2747C1D4681F}"/>
                </a:ext>
              </a:extLst>
            </p:cNvPr>
            <p:cNvSpPr/>
            <p:nvPr/>
          </p:nvSpPr>
          <p:spPr bwMode="auto">
            <a:xfrm>
              <a:off x="5335724" y="3170126"/>
              <a:ext cx="2391318" cy="3141626"/>
            </a:xfrm>
            <a:prstGeom prst="can">
              <a:avLst>
                <a:gd name="adj" fmla="val 39530"/>
              </a:avLst>
            </a:prstGeom>
            <a:solidFill>
              <a:schemeClr val="bg1"/>
            </a:solidFill>
            <a:ln w="12700">
              <a:solidFill>
                <a:schemeClr val="accent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62F33"/>
                </a:solidFill>
                <a:effectLst/>
                <a:uLnTx/>
                <a:uFillTx/>
                <a:latin typeface="Calibri Light" panose="020F0302020204030204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49023DE-2731-4F78-AC2E-0DDF7085F71C}"/>
              </a:ext>
            </a:extLst>
          </p:cNvPr>
          <p:cNvSpPr txBox="1"/>
          <p:nvPr/>
        </p:nvSpPr>
        <p:spPr>
          <a:xfrm>
            <a:off x="2776727" y="1330025"/>
            <a:ext cx="1733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zure Databricks</a:t>
            </a:r>
          </a:p>
        </p:txBody>
      </p:sp>
      <p:sp>
        <p:nvSpPr>
          <p:cNvPr id="185" name="Freeform 4">
            <a:extLst>
              <a:ext uri="{FF2B5EF4-FFF2-40B4-BE49-F238E27FC236}">
                <a16:creationId xmlns:a16="http://schemas.microsoft.com/office/drawing/2014/main" id="{555740EF-E494-4066-B033-B42E7DBE7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205" y="1062446"/>
            <a:ext cx="11408940" cy="5085805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B9D3D5-FE04-431D-B831-604D8382741D}"/>
              </a:ext>
            </a:extLst>
          </p:cNvPr>
          <p:cNvSpPr txBox="1"/>
          <p:nvPr/>
        </p:nvSpPr>
        <p:spPr>
          <a:xfrm>
            <a:off x="888884" y="6286039"/>
            <a:ext cx="2095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Enhance Productivity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A26CDD1E-54A7-47B3-8CE8-9571A3F1FE4F}"/>
              </a:ext>
            </a:extLst>
          </p:cNvPr>
          <p:cNvSpPr/>
          <p:nvPr/>
        </p:nvSpPr>
        <p:spPr>
          <a:xfrm>
            <a:off x="2905610" y="3138102"/>
            <a:ext cx="36444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78D6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rPr>
              <a:t>Deploy Production Jobs &amp; Workflows 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97B581DE-181E-4145-9FAF-9BB9503DD781}"/>
              </a:ext>
            </a:extLst>
          </p:cNvPr>
          <p:cNvSpPr/>
          <p:nvPr/>
        </p:nvSpPr>
        <p:spPr>
          <a:xfrm>
            <a:off x="4691276" y="5492128"/>
            <a:ext cx="12450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APACHE SPARK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783E5D5E-5D12-4CAC-AB79-D3B04C94F35C}"/>
              </a:ext>
            </a:extLst>
          </p:cNvPr>
          <p:cNvSpPr/>
          <p:nvPr/>
        </p:nvSpPr>
        <p:spPr>
          <a:xfrm>
            <a:off x="2961569" y="4163007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505050"/>
                </a:solidFill>
                <a:latin typeface="Segoe UI Semibold" charset="0"/>
                <a:ea typeface="Segoe UI Semibold" charset="0"/>
                <a:cs typeface="Segoe UI Semibold" charset="0"/>
              </a:rPr>
              <a:t>MULTI-STAGE PIPELIN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483AD615-61FF-4EE1-804B-D9DEC8C23CF7}"/>
              </a:ext>
            </a:extLst>
          </p:cNvPr>
          <p:cNvSpPr/>
          <p:nvPr/>
        </p:nvSpPr>
        <p:spPr>
          <a:xfrm>
            <a:off x="3179446" y="2629547"/>
            <a:ext cx="1173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ENGINEER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F862E818-0B14-4D57-891F-E80EAB9EB6ED}"/>
              </a:ext>
            </a:extLst>
          </p:cNvPr>
          <p:cNvGrpSpPr/>
          <p:nvPr/>
        </p:nvGrpSpPr>
        <p:grpSpPr>
          <a:xfrm>
            <a:off x="3575726" y="2228197"/>
            <a:ext cx="509188" cy="399948"/>
            <a:chOff x="8339328" y="268334"/>
            <a:chExt cx="780544" cy="613088"/>
          </a:xfrm>
        </p:grpSpPr>
        <p:sp>
          <p:nvSpPr>
            <p:cNvPr id="191" name="Freeform 17">
              <a:extLst>
                <a:ext uri="{FF2B5EF4-FFF2-40B4-BE49-F238E27FC236}">
                  <a16:creationId xmlns:a16="http://schemas.microsoft.com/office/drawing/2014/main" id="{0A8BE349-F75B-4DA5-91B4-2A6FEDCC3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8117" y="268334"/>
              <a:ext cx="541755" cy="499762"/>
            </a:xfrm>
            <a:custGeom>
              <a:avLst/>
              <a:gdLst>
                <a:gd name="T0" fmla="*/ 224 w 356"/>
                <a:gd name="T1" fmla="*/ 273 h 328"/>
                <a:gd name="T2" fmla="*/ 181 w 356"/>
                <a:gd name="T3" fmla="*/ 295 h 328"/>
                <a:gd name="T4" fmla="*/ 181 w 356"/>
                <a:gd name="T5" fmla="*/ 328 h 328"/>
                <a:gd name="T6" fmla="*/ 121 w 356"/>
                <a:gd name="T7" fmla="*/ 328 h 328"/>
                <a:gd name="T8" fmla="*/ 121 w 356"/>
                <a:gd name="T9" fmla="*/ 291 h 328"/>
                <a:gd name="T10" fmla="*/ 57 w 356"/>
                <a:gd name="T11" fmla="*/ 254 h 328"/>
                <a:gd name="T12" fmla="*/ 28 w 356"/>
                <a:gd name="T13" fmla="*/ 269 h 328"/>
                <a:gd name="T14" fmla="*/ 0 w 356"/>
                <a:gd name="T15" fmla="*/ 214 h 328"/>
                <a:gd name="T16" fmla="*/ 28 w 356"/>
                <a:gd name="T17" fmla="*/ 199 h 328"/>
                <a:gd name="T18" fmla="*/ 21 w 356"/>
                <a:gd name="T19" fmla="*/ 162 h 328"/>
                <a:gd name="T20" fmla="*/ 28 w 356"/>
                <a:gd name="T21" fmla="*/ 125 h 328"/>
                <a:gd name="T22" fmla="*/ 0 w 356"/>
                <a:gd name="T23" fmla="*/ 111 h 328"/>
                <a:gd name="T24" fmla="*/ 28 w 356"/>
                <a:gd name="T25" fmla="*/ 55 h 328"/>
                <a:gd name="T26" fmla="*/ 57 w 356"/>
                <a:gd name="T27" fmla="*/ 70 h 328"/>
                <a:gd name="T28" fmla="*/ 121 w 356"/>
                <a:gd name="T29" fmla="*/ 33 h 328"/>
                <a:gd name="T30" fmla="*/ 121 w 356"/>
                <a:gd name="T31" fmla="*/ 0 h 328"/>
                <a:gd name="T32" fmla="*/ 181 w 356"/>
                <a:gd name="T33" fmla="*/ 0 h 328"/>
                <a:gd name="T34" fmla="*/ 181 w 356"/>
                <a:gd name="T35" fmla="*/ 30 h 328"/>
                <a:gd name="T36" fmla="*/ 249 w 356"/>
                <a:gd name="T37" fmla="*/ 70 h 328"/>
                <a:gd name="T38" fmla="*/ 274 w 356"/>
                <a:gd name="T39" fmla="*/ 55 h 328"/>
                <a:gd name="T40" fmla="*/ 306 w 356"/>
                <a:gd name="T41" fmla="*/ 111 h 328"/>
                <a:gd name="T42" fmla="*/ 277 w 356"/>
                <a:gd name="T43" fmla="*/ 125 h 328"/>
                <a:gd name="T44" fmla="*/ 282 w 356"/>
                <a:gd name="T45" fmla="*/ 162 h 328"/>
                <a:gd name="T46" fmla="*/ 279 w 356"/>
                <a:gd name="T47" fmla="*/ 188 h 328"/>
                <a:gd name="T48" fmla="*/ 186 w 356"/>
                <a:gd name="T49" fmla="*/ 100 h 328"/>
                <a:gd name="T50" fmla="*/ 150 w 356"/>
                <a:gd name="T51" fmla="*/ 89 h 328"/>
                <a:gd name="T52" fmla="*/ 75 w 356"/>
                <a:gd name="T53" fmla="*/ 166 h 328"/>
                <a:gd name="T54" fmla="*/ 107 w 356"/>
                <a:gd name="T55" fmla="*/ 231 h 328"/>
                <a:gd name="T56" fmla="*/ 209 w 356"/>
                <a:gd name="T57" fmla="*/ 238 h 328"/>
                <a:gd name="T58" fmla="*/ 310 w 356"/>
                <a:gd name="T59" fmla="*/ 302 h 328"/>
                <a:gd name="T60" fmla="*/ 348 w 356"/>
                <a:gd name="T61" fmla="*/ 294 h 328"/>
                <a:gd name="T62" fmla="*/ 340 w 356"/>
                <a:gd name="T63" fmla="*/ 256 h 328"/>
                <a:gd name="T64" fmla="*/ 237 w 356"/>
                <a:gd name="T65" fmla="*/ 195 h 328"/>
                <a:gd name="T66" fmla="*/ 235 w 356"/>
                <a:gd name="T67" fmla="*/ 194 h 328"/>
                <a:gd name="T68" fmla="*/ 234 w 356"/>
                <a:gd name="T69" fmla="*/ 179 h 328"/>
                <a:gd name="T70" fmla="*/ 172 w 356"/>
                <a:gd name="T71" fmla="*/ 139 h 328"/>
                <a:gd name="T72" fmla="*/ 145 w 356"/>
                <a:gd name="T73" fmla="*/ 153 h 328"/>
                <a:gd name="T74" fmla="*/ 194 w 356"/>
                <a:gd name="T75" fmla="*/ 183 h 328"/>
                <a:gd name="T76" fmla="*/ 182 w 356"/>
                <a:gd name="T77" fmla="*/ 199 h 328"/>
                <a:gd name="T78" fmla="*/ 135 w 356"/>
                <a:gd name="T79" fmla="*/ 169 h 328"/>
                <a:gd name="T80" fmla="*/ 132 w 356"/>
                <a:gd name="T81" fmla="*/ 201 h 328"/>
                <a:gd name="T82" fmla="*/ 194 w 356"/>
                <a:gd name="T83" fmla="*/ 241 h 328"/>
                <a:gd name="T84" fmla="*/ 207 w 356"/>
                <a:gd name="T85" fmla="*/ 237 h 328"/>
                <a:gd name="T86" fmla="*/ 209 w 356"/>
                <a:gd name="T87" fmla="*/ 23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6" h="328">
                  <a:moveTo>
                    <a:pt x="224" y="273"/>
                  </a:moveTo>
                  <a:cubicBezTo>
                    <a:pt x="213" y="284"/>
                    <a:pt x="195" y="291"/>
                    <a:pt x="181" y="295"/>
                  </a:cubicBezTo>
                  <a:cubicBezTo>
                    <a:pt x="181" y="295"/>
                    <a:pt x="181" y="295"/>
                    <a:pt x="181" y="328"/>
                  </a:cubicBezTo>
                  <a:cubicBezTo>
                    <a:pt x="181" y="328"/>
                    <a:pt x="181" y="328"/>
                    <a:pt x="121" y="328"/>
                  </a:cubicBezTo>
                  <a:cubicBezTo>
                    <a:pt x="121" y="328"/>
                    <a:pt x="121" y="328"/>
                    <a:pt x="121" y="291"/>
                  </a:cubicBezTo>
                  <a:cubicBezTo>
                    <a:pt x="96" y="287"/>
                    <a:pt x="75" y="273"/>
                    <a:pt x="57" y="254"/>
                  </a:cubicBezTo>
                  <a:cubicBezTo>
                    <a:pt x="57" y="254"/>
                    <a:pt x="57" y="254"/>
                    <a:pt x="28" y="269"/>
                  </a:cubicBezTo>
                  <a:cubicBezTo>
                    <a:pt x="28" y="269"/>
                    <a:pt x="28" y="269"/>
                    <a:pt x="0" y="214"/>
                  </a:cubicBezTo>
                  <a:cubicBezTo>
                    <a:pt x="0" y="214"/>
                    <a:pt x="0" y="214"/>
                    <a:pt x="28" y="199"/>
                  </a:cubicBezTo>
                  <a:cubicBezTo>
                    <a:pt x="25" y="188"/>
                    <a:pt x="21" y="177"/>
                    <a:pt x="21" y="162"/>
                  </a:cubicBezTo>
                  <a:cubicBezTo>
                    <a:pt x="21" y="151"/>
                    <a:pt x="25" y="136"/>
                    <a:pt x="28" y="125"/>
                  </a:cubicBezTo>
                  <a:cubicBezTo>
                    <a:pt x="28" y="125"/>
                    <a:pt x="28" y="125"/>
                    <a:pt x="0" y="111"/>
                  </a:cubicBezTo>
                  <a:cubicBezTo>
                    <a:pt x="0" y="111"/>
                    <a:pt x="0" y="111"/>
                    <a:pt x="28" y="55"/>
                  </a:cubicBezTo>
                  <a:cubicBezTo>
                    <a:pt x="28" y="55"/>
                    <a:pt x="28" y="55"/>
                    <a:pt x="57" y="70"/>
                  </a:cubicBezTo>
                  <a:cubicBezTo>
                    <a:pt x="75" y="52"/>
                    <a:pt x="96" y="37"/>
                    <a:pt x="121" y="33"/>
                  </a:cubicBezTo>
                  <a:cubicBezTo>
                    <a:pt x="121" y="33"/>
                    <a:pt x="121" y="33"/>
                    <a:pt x="121" y="0"/>
                  </a:cubicBezTo>
                  <a:cubicBezTo>
                    <a:pt x="121" y="0"/>
                    <a:pt x="121" y="0"/>
                    <a:pt x="181" y="0"/>
                  </a:cubicBezTo>
                  <a:cubicBezTo>
                    <a:pt x="181" y="0"/>
                    <a:pt x="181" y="0"/>
                    <a:pt x="181" y="30"/>
                  </a:cubicBezTo>
                  <a:cubicBezTo>
                    <a:pt x="206" y="37"/>
                    <a:pt x="231" y="52"/>
                    <a:pt x="249" y="70"/>
                  </a:cubicBezTo>
                  <a:cubicBezTo>
                    <a:pt x="249" y="70"/>
                    <a:pt x="249" y="70"/>
                    <a:pt x="274" y="55"/>
                  </a:cubicBezTo>
                  <a:cubicBezTo>
                    <a:pt x="274" y="55"/>
                    <a:pt x="274" y="55"/>
                    <a:pt x="306" y="111"/>
                  </a:cubicBezTo>
                  <a:cubicBezTo>
                    <a:pt x="306" y="111"/>
                    <a:pt x="306" y="111"/>
                    <a:pt x="277" y="125"/>
                  </a:cubicBezTo>
                  <a:cubicBezTo>
                    <a:pt x="281" y="136"/>
                    <a:pt x="282" y="150"/>
                    <a:pt x="282" y="162"/>
                  </a:cubicBezTo>
                  <a:cubicBezTo>
                    <a:pt x="282" y="169"/>
                    <a:pt x="282" y="178"/>
                    <a:pt x="279" y="188"/>
                  </a:cubicBezTo>
                  <a:moveTo>
                    <a:pt x="186" y="100"/>
                  </a:moveTo>
                  <a:cubicBezTo>
                    <a:pt x="176" y="93"/>
                    <a:pt x="165" y="89"/>
                    <a:pt x="150" y="89"/>
                  </a:cubicBezTo>
                  <a:cubicBezTo>
                    <a:pt x="107" y="89"/>
                    <a:pt x="75" y="126"/>
                    <a:pt x="75" y="166"/>
                  </a:cubicBezTo>
                  <a:cubicBezTo>
                    <a:pt x="75" y="195"/>
                    <a:pt x="85" y="217"/>
                    <a:pt x="107" y="231"/>
                  </a:cubicBezTo>
                  <a:moveTo>
                    <a:pt x="209" y="238"/>
                  </a:moveTo>
                  <a:cubicBezTo>
                    <a:pt x="310" y="302"/>
                    <a:pt x="310" y="302"/>
                    <a:pt x="310" y="302"/>
                  </a:cubicBezTo>
                  <a:cubicBezTo>
                    <a:pt x="323" y="310"/>
                    <a:pt x="340" y="307"/>
                    <a:pt x="348" y="294"/>
                  </a:cubicBezTo>
                  <a:cubicBezTo>
                    <a:pt x="356" y="282"/>
                    <a:pt x="353" y="265"/>
                    <a:pt x="340" y="256"/>
                  </a:cubicBezTo>
                  <a:cubicBezTo>
                    <a:pt x="237" y="195"/>
                    <a:pt x="237" y="195"/>
                    <a:pt x="237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6" y="189"/>
                    <a:pt x="235" y="184"/>
                    <a:pt x="234" y="179"/>
                  </a:cubicBezTo>
                  <a:cubicBezTo>
                    <a:pt x="228" y="151"/>
                    <a:pt x="200" y="132"/>
                    <a:pt x="172" y="139"/>
                  </a:cubicBezTo>
                  <a:cubicBezTo>
                    <a:pt x="162" y="141"/>
                    <a:pt x="152" y="146"/>
                    <a:pt x="145" y="153"/>
                  </a:cubicBezTo>
                  <a:cubicBezTo>
                    <a:pt x="194" y="183"/>
                    <a:pt x="194" y="183"/>
                    <a:pt x="194" y="183"/>
                  </a:cubicBezTo>
                  <a:cubicBezTo>
                    <a:pt x="182" y="199"/>
                    <a:pt x="182" y="199"/>
                    <a:pt x="182" y="19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1" y="179"/>
                    <a:pt x="129" y="190"/>
                    <a:pt x="132" y="201"/>
                  </a:cubicBezTo>
                  <a:cubicBezTo>
                    <a:pt x="138" y="229"/>
                    <a:pt x="165" y="247"/>
                    <a:pt x="194" y="241"/>
                  </a:cubicBezTo>
                  <a:cubicBezTo>
                    <a:pt x="198" y="240"/>
                    <a:pt x="203" y="239"/>
                    <a:pt x="207" y="237"/>
                  </a:cubicBezTo>
                  <a:lnTo>
                    <a:pt x="209" y="238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headEnd type="none"/>
              <a:tailEnd type="none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92" name="Freeform 5">
              <a:extLst>
                <a:ext uri="{FF2B5EF4-FFF2-40B4-BE49-F238E27FC236}">
                  <a16:creationId xmlns:a16="http://schemas.microsoft.com/office/drawing/2014/main" id="{42708161-D58A-4D4C-A577-8696733DBA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9328" y="303250"/>
              <a:ext cx="517467" cy="57817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BFECA14A-8C14-4349-A313-1AE53C55353B}"/>
              </a:ext>
            </a:extLst>
          </p:cNvPr>
          <p:cNvGrpSpPr/>
          <p:nvPr/>
        </p:nvGrpSpPr>
        <p:grpSpPr>
          <a:xfrm>
            <a:off x="5707879" y="2284173"/>
            <a:ext cx="502920" cy="361358"/>
            <a:chOff x="10268712" y="1254226"/>
            <a:chExt cx="804672" cy="578172"/>
          </a:xfrm>
        </p:grpSpPr>
        <p:grpSp>
          <p:nvGrpSpPr>
            <p:cNvPr id="194" name="Group 11">
              <a:extLst>
                <a:ext uri="{FF2B5EF4-FFF2-40B4-BE49-F238E27FC236}">
                  <a16:creationId xmlns:a16="http://schemas.microsoft.com/office/drawing/2014/main" id="{9974C1ED-FF66-4DB2-8D24-60E9123038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607090" y="1257647"/>
              <a:ext cx="466294" cy="507929"/>
              <a:chOff x="3861" y="4291602"/>
              <a:chExt cx="112" cy="244433"/>
            </a:xfrm>
          </p:grpSpPr>
          <p:sp>
            <p:nvSpPr>
              <p:cNvPr id="196" name="Freeform 12">
                <a:extLst>
                  <a:ext uri="{FF2B5EF4-FFF2-40B4-BE49-F238E27FC236}">
                    <a16:creationId xmlns:a16="http://schemas.microsoft.com/office/drawing/2014/main" id="{14E7BF12-5327-408A-A695-4E11198D5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1" y="4291602"/>
                <a:ext cx="112" cy="244433"/>
              </a:xfrm>
              <a:custGeom>
                <a:avLst/>
                <a:gdLst>
                  <a:gd name="T0" fmla="*/ 24 w 80"/>
                  <a:gd name="T1" fmla="*/ 36 h 88"/>
                  <a:gd name="T2" fmla="*/ 4 w 80"/>
                  <a:gd name="T3" fmla="*/ 74 h 88"/>
                  <a:gd name="T4" fmla="*/ 12 w 80"/>
                  <a:gd name="T5" fmla="*/ 88 h 88"/>
                  <a:gd name="T6" fmla="*/ 68 w 80"/>
                  <a:gd name="T7" fmla="*/ 88 h 88"/>
                  <a:gd name="T8" fmla="*/ 76 w 80"/>
                  <a:gd name="T9" fmla="*/ 74 h 88"/>
                  <a:gd name="T10" fmla="*/ 56 w 80"/>
                  <a:gd name="T11" fmla="*/ 36 h 88"/>
                  <a:gd name="T12" fmla="*/ 56 w 80"/>
                  <a:gd name="T13" fmla="*/ 0 h 88"/>
                  <a:gd name="T14" fmla="*/ 24 w 80"/>
                  <a:gd name="T15" fmla="*/ 0 h 88"/>
                  <a:gd name="T16" fmla="*/ 24 w 80"/>
                  <a:gd name="T17" fmla="*/ 3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88">
                    <a:moveTo>
                      <a:pt x="24" y="36"/>
                    </a:moveTo>
                    <a:cubicBezTo>
                      <a:pt x="4" y="74"/>
                      <a:pt x="4" y="74"/>
                      <a:pt x="4" y="74"/>
                    </a:cubicBezTo>
                    <a:cubicBezTo>
                      <a:pt x="0" y="80"/>
                      <a:pt x="5" y="88"/>
                      <a:pt x="12" y="88"/>
                    </a:cubicBezTo>
                    <a:cubicBezTo>
                      <a:pt x="68" y="88"/>
                      <a:pt x="68" y="88"/>
                      <a:pt x="68" y="88"/>
                    </a:cubicBezTo>
                    <a:cubicBezTo>
                      <a:pt x="75" y="88"/>
                      <a:pt x="80" y="80"/>
                      <a:pt x="76" y="7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24" y="36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7" name="Line 13">
                <a:extLst>
                  <a:ext uri="{FF2B5EF4-FFF2-40B4-BE49-F238E27FC236}">
                    <a16:creationId xmlns:a16="http://schemas.microsoft.com/office/drawing/2014/main" id="{BA83800C-8600-4A26-AC84-AB5E3F7559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72" y="4469918"/>
                <a:ext cx="90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8" name="Line 14">
                <a:extLst>
                  <a:ext uri="{FF2B5EF4-FFF2-40B4-BE49-F238E27FC236}">
                    <a16:creationId xmlns:a16="http://schemas.microsoft.com/office/drawing/2014/main" id="{3B1A8ED1-DC16-4B90-B5E0-B5427DE145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335680"/>
                <a:ext cx="16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99" name="Line 15">
                <a:extLst>
                  <a:ext uri="{FF2B5EF4-FFF2-40B4-BE49-F238E27FC236}">
                    <a16:creationId xmlns:a16="http://schemas.microsoft.com/office/drawing/2014/main" id="{9C7CA43B-C9E6-40BA-B5B3-41644AEF26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379758"/>
                <a:ext cx="16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0" name="Line 16">
                <a:extLst>
                  <a:ext uri="{FF2B5EF4-FFF2-40B4-BE49-F238E27FC236}">
                    <a16:creationId xmlns:a16="http://schemas.microsoft.com/office/drawing/2014/main" id="{9E45A68A-C242-4E6C-A2A0-335993C262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23" y="4425840"/>
                <a:ext cx="2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01" name="Line 17">
                <a:extLst>
                  <a:ext uri="{FF2B5EF4-FFF2-40B4-BE49-F238E27FC236}">
                    <a16:creationId xmlns:a16="http://schemas.microsoft.com/office/drawing/2014/main" id="{12261218-B93E-42BF-A6C4-7569B7707B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83" y="4291602"/>
                <a:ext cx="6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353535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195" name="Freeform 5">
              <a:extLst>
                <a:ext uri="{FF2B5EF4-FFF2-40B4-BE49-F238E27FC236}">
                  <a16:creationId xmlns:a16="http://schemas.microsoft.com/office/drawing/2014/main" id="{56F84BC6-29A5-47B4-B63A-E67E8F4706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68712" y="1254226"/>
              <a:ext cx="517467" cy="578172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88070708-B166-4833-A63F-B5E80BBF26D9}"/>
              </a:ext>
            </a:extLst>
          </p:cNvPr>
          <p:cNvGrpSpPr/>
          <p:nvPr/>
        </p:nvGrpSpPr>
        <p:grpSpPr>
          <a:xfrm>
            <a:off x="7978217" y="2234285"/>
            <a:ext cx="554668" cy="377171"/>
            <a:chOff x="9151662" y="1184065"/>
            <a:chExt cx="554668" cy="377171"/>
          </a:xfrm>
        </p:grpSpPr>
        <p:grpSp>
          <p:nvGrpSpPr>
            <p:cNvPr id="219" name="Group 4">
              <a:extLst>
                <a:ext uri="{FF2B5EF4-FFF2-40B4-BE49-F238E27FC236}">
                  <a16:creationId xmlns:a16="http://schemas.microsoft.com/office/drawing/2014/main" id="{C6D220A9-E158-4B4F-B262-1CFF925F7A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396633" y="1190427"/>
              <a:ext cx="309697" cy="302323"/>
              <a:chOff x="1759" y="236"/>
              <a:chExt cx="252" cy="246"/>
            </a:xfrm>
            <a:noFill/>
          </p:grpSpPr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087426E8-22CB-4740-8EA2-7E79F76FE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236"/>
                <a:ext cx="252" cy="246"/>
              </a:xfrm>
              <a:custGeom>
                <a:avLst/>
                <a:gdLst>
                  <a:gd name="T0" fmla="*/ 0 w 252"/>
                  <a:gd name="T1" fmla="*/ 0 h 246"/>
                  <a:gd name="T2" fmla="*/ 0 w 252"/>
                  <a:gd name="T3" fmla="*/ 246 h 246"/>
                  <a:gd name="T4" fmla="*/ 252 w 252"/>
                  <a:gd name="T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2" h="246">
                    <a:moveTo>
                      <a:pt x="0" y="0"/>
                    </a:moveTo>
                    <a:lnTo>
                      <a:pt x="0" y="246"/>
                    </a:lnTo>
                    <a:lnTo>
                      <a:pt x="252" y="246"/>
                    </a:lnTo>
                  </a:path>
                </a:pathLst>
              </a:cu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2" name="Rectangle 6">
                <a:extLst>
                  <a:ext uri="{FF2B5EF4-FFF2-40B4-BE49-F238E27FC236}">
                    <a16:creationId xmlns:a16="http://schemas.microsoft.com/office/drawing/2014/main" id="{C41AE70E-CCC5-4012-87EE-D78D46E46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" y="376"/>
                <a:ext cx="32" cy="106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3" name="Rectangle 7">
                <a:extLst>
                  <a:ext uri="{FF2B5EF4-FFF2-40B4-BE49-F238E27FC236}">
                    <a16:creationId xmlns:a16="http://schemas.microsoft.com/office/drawing/2014/main" id="{3BB82065-89DA-4276-83E9-345666DEC1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2" y="283"/>
                <a:ext cx="33" cy="199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24" name="Rectangle 8">
                <a:extLst>
                  <a:ext uri="{FF2B5EF4-FFF2-40B4-BE49-F238E27FC236}">
                    <a16:creationId xmlns:a16="http://schemas.microsoft.com/office/drawing/2014/main" id="{C81E81EE-105D-4A76-A964-A547F2F69C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6" y="324"/>
                <a:ext cx="33" cy="158"/>
              </a:xfrm>
              <a:prstGeom prst="rect">
                <a:avLst/>
              </a:prstGeom>
              <a:grp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72421" tIns="36211" rIns="72421" bIns="362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43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</p:grpSp>
        <p:sp>
          <p:nvSpPr>
            <p:cNvPr id="220" name="Freeform 5">
              <a:extLst>
                <a:ext uri="{FF2B5EF4-FFF2-40B4-BE49-F238E27FC236}">
                  <a16:creationId xmlns:a16="http://schemas.microsoft.com/office/drawing/2014/main" id="{DD5803B4-9800-4E61-A1AE-C7BC7EDE78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1662" y="1184065"/>
              <a:ext cx="337570" cy="377171"/>
            </a:xfrm>
            <a:custGeom>
              <a:avLst/>
              <a:gdLst>
                <a:gd name="T0" fmla="*/ 48 w 246"/>
                <a:gd name="T1" fmla="*/ 76 h 275"/>
                <a:gd name="T2" fmla="*/ 124 w 246"/>
                <a:gd name="T3" fmla="*/ 0 h 275"/>
                <a:gd name="T4" fmla="*/ 201 w 246"/>
                <a:gd name="T5" fmla="*/ 76 h 275"/>
                <a:gd name="T6" fmla="*/ 124 w 246"/>
                <a:gd name="T7" fmla="*/ 152 h 275"/>
                <a:gd name="T8" fmla="*/ 48 w 246"/>
                <a:gd name="T9" fmla="*/ 76 h 275"/>
                <a:gd name="T10" fmla="*/ 246 w 246"/>
                <a:gd name="T11" fmla="*/ 275 h 275"/>
                <a:gd name="T12" fmla="*/ 123 w 246"/>
                <a:gd name="T13" fmla="*/ 152 h 275"/>
                <a:gd name="T14" fmla="*/ 0 w 246"/>
                <a:gd name="T1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275">
                  <a:moveTo>
                    <a:pt x="48" y="76"/>
                  </a:moveTo>
                  <a:cubicBezTo>
                    <a:pt x="48" y="34"/>
                    <a:pt x="82" y="0"/>
                    <a:pt x="124" y="0"/>
                  </a:cubicBezTo>
                  <a:cubicBezTo>
                    <a:pt x="166" y="0"/>
                    <a:pt x="201" y="34"/>
                    <a:pt x="201" y="76"/>
                  </a:cubicBezTo>
                  <a:cubicBezTo>
                    <a:pt x="201" y="118"/>
                    <a:pt x="166" y="152"/>
                    <a:pt x="124" y="152"/>
                  </a:cubicBezTo>
                  <a:cubicBezTo>
                    <a:pt x="82" y="152"/>
                    <a:pt x="48" y="118"/>
                    <a:pt x="48" y="76"/>
                  </a:cubicBezTo>
                  <a:close/>
                  <a:moveTo>
                    <a:pt x="246" y="275"/>
                  </a:moveTo>
                  <a:cubicBezTo>
                    <a:pt x="246" y="207"/>
                    <a:pt x="191" y="152"/>
                    <a:pt x="123" y="152"/>
                  </a:cubicBezTo>
                  <a:cubicBezTo>
                    <a:pt x="55" y="152"/>
                    <a:pt x="0" y="207"/>
                    <a:pt x="0" y="275"/>
                  </a:cubicBezTo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88E672A-5D82-40BB-B9DF-4DAC97A83188}"/>
              </a:ext>
            </a:extLst>
          </p:cNvPr>
          <p:cNvCxnSpPr/>
          <p:nvPr/>
        </p:nvCxnSpPr>
        <p:spPr>
          <a:xfrm>
            <a:off x="4414474" y="2722218"/>
            <a:ext cx="89182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BABC0979-C8F7-492A-B7B9-7B350C64251B}"/>
              </a:ext>
            </a:extLst>
          </p:cNvPr>
          <p:cNvCxnSpPr/>
          <p:nvPr/>
        </p:nvCxnSpPr>
        <p:spPr>
          <a:xfrm>
            <a:off x="6598874" y="2731867"/>
            <a:ext cx="89182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E17A071-A113-4A99-AB11-8ADD8F1B3802}"/>
              </a:ext>
            </a:extLst>
          </p:cNvPr>
          <p:cNvSpPr/>
          <p:nvPr/>
        </p:nvSpPr>
        <p:spPr>
          <a:xfrm>
            <a:off x="5085319" y="4150054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JOB SCHEDULER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81BBA7CE-5D2B-496C-B4FF-7FF4711BD31C}"/>
              </a:ext>
            </a:extLst>
          </p:cNvPr>
          <p:cNvSpPr/>
          <p:nvPr/>
        </p:nvSpPr>
        <p:spPr>
          <a:xfrm>
            <a:off x="7248132" y="4154828"/>
            <a:ext cx="16096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NOTIFICATION &amp; LOGS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E3C1D40C-21EC-43D2-AC3A-E663BB21D149}"/>
              </a:ext>
            </a:extLst>
          </p:cNvPr>
          <p:cNvSpPr/>
          <p:nvPr/>
        </p:nvSpPr>
        <p:spPr>
          <a:xfrm>
            <a:off x="5385128" y="2642514"/>
            <a:ext cx="1173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DATA SCIENTIST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C09F5361-6499-4020-B354-731B57771C6B}"/>
              </a:ext>
            </a:extLst>
          </p:cNvPr>
          <p:cNvSpPr/>
          <p:nvPr/>
        </p:nvSpPr>
        <p:spPr>
          <a:xfrm>
            <a:off x="7653681" y="2629546"/>
            <a:ext cx="14138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BUSINESS ANALYS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6B716EB-A1B9-4E4F-BE0E-11CC2D2CAAA8}"/>
              </a:ext>
            </a:extLst>
          </p:cNvPr>
          <p:cNvSpPr/>
          <p:nvPr/>
        </p:nvSpPr>
        <p:spPr>
          <a:xfrm>
            <a:off x="3085844" y="3754267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DC2C3294-024E-46E3-8278-479FA625786C}"/>
              </a:ext>
            </a:extLst>
          </p:cNvPr>
          <p:cNvSpPr/>
          <p:nvPr/>
        </p:nvSpPr>
        <p:spPr>
          <a:xfrm>
            <a:off x="3611561" y="3750864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C10FE34B-412D-4255-97F5-594A012EF537}"/>
              </a:ext>
            </a:extLst>
          </p:cNvPr>
          <p:cNvSpPr/>
          <p:nvPr/>
        </p:nvSpPr>
        <p:spPr>
          <a:xfrm>
            <a:off x="4100490" y="3750863"/>
            <a:ext cx="274431" cy="27443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857B09A-3F9A-4431-BAD6-F42EE7CA39B9}"/>
              </a:ext>
            </a:extLst>
          </p:cNvPr>
          <p:cNvCxnSpPr>
            <a:cxnSpLocks/>
          </p:cNvCxnSpPr>
          <p:nvPr/>
        </p:nvCxnSpPr>
        <p:spPr>
          <a:xfrm>
            <a:off x="3360275" y="3888078"/>
            <a:ext cx="2310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C96F85CD-F47F-4D7C-AE8A-699F856E0492}"/>
              </a:ext>
            </a:extLst>
          </p:cNvPr>
          <p:cNvCxnSpPr>
            <a:cxnSpLocks/>
          </p:cNvCxnSpPr>
          <p:nvPr/>
        </p:nvCxnSpPr>
        <p:spPr>
          <a:xfrm>
            <a:off x="3885992" y="3879463"/>
            <a:ext cx="2310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22" descr="Clock">
            <a:extLst>
              <a:ext uri="{FF2B5EF4-FFF2-40B4-BE49-F238E27FC236}">
                <a16:creationId xmlns:a16="http://schemas.microsoft.com/office/drawing/2014/main" id="{C56B9A26-1B83-4BC1-9C65-C2695913F2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4899" y="3620535"/>
            <a:ext cx="546696" cy="546696"/>
          </a:xfrm>
          <a:prstGeom prst="rect">
            <a:avLst/>
          </a:prstGeom>
        </p:spPr>
      </p:pic>
      <p:pic>
        <p:nvPicPr>
          <p:cNvPr id="25" name="Graphic 24" descr="Warning">
            <a:extLst>
              <a:ext uri="{FF2B5EF4-FFF2-40B4-BE49-F238E27FC236}">
                <a16:creationId xmlns:a16="http://schemas.microsoft.com/office/drawing/2014/main" id="{5A565B5D-4600-438D-AA6F-3005969C35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18651" y="3659103"/>
            <a:ext cx="493022" cy="493022"/>
          </a:xfrm>
          <a:prstGeom prst="rect">
            <a:avLst/>
          </a:prstGeom>
        </p:spPr>
      </p:pic>
      <p:sp>
        <p:nvSpPr>
          <p:cNvPr id="238" name="TextBox 237">
            <a:extLst>
              <a:ext uri="{FF2B5EF4-FFF2-40B4-BE49-F238E27FC236}">
                <a16:creationId xmlns:a16="http://schemas.microsoft.com/office/drawing/2014/main" id="{10CEAE7D-7680-48CF-964E-5FB8BB311FF1}"/>
              </a:ext>
            </a:extLst>
          </p:cNvPr>
          <p:cNvSpPr txBox="1"/>
          <p:nvPr/>
        </p:nvSpPr>
        <p:spPr>
          <a:xfrm>
            <a:off x="4662593" y="6294008"/>
            <a:ext cx="30391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505050"/>
                </a:solidFill>
                <a:latin typeface="Calibri Light" panose="020F0302020204030204"/>
              </a:rPr>
              <a:t>Build on secure &amp; trusted clou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0DC95295-3153-41CE-A498-01DB75AD0167}"/>
              </a:ext>
            </a:extLst>
          </p:cNvPr>
          <p:cNvSpPr txBox="1"/>
          <p:nvPr/>
        </p:nvSpPr>
        <p:spPr>
          <a:xfrm>
            <a:off x="9133531" y="6296636"/>
            <a:ext cx="19521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505050"/>
                </a:solidFill>
                <a:latin typeface="Calibri Light" panose="020F0302020204030204"/>
              </a:rPr>
              <a:t>Scale without limit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E83755-E6EE-4BD9-8BCF-D815709AAA34}"/>
              </a:ext>
            </a:extLst>
          </p:cNvPr>
          <p:cNvSpPr/>
          <p:nvPr/>
        </p:nvSpPr>
        <p:spPr>
          <a:xfrm>
            <a:off x="230201" y="5958108"/>
            <a:ext cx="11784254" cy="215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">
            <a:extLst>
              <a:ext uri="{FF2B5EF4-FFF2-40B4-BE49-F238E27FC236}">
                <a16:creationId xmlns:a16="http://schemas.microsoft.com/office/drawing/2014/main" id="{4AD90AEC-EFA0-4579-BB2F-D5E445BD03C3}"/>
              </a:ext>
            </a:extLst>
          </p:cNvPr>
          <p:cNvSpPr/>
          <p:nvPr/>
        </p:nvSpPr>
        <p:spPr>
          <a:xfrm rot="5400000">
            <a:off x="5964855" y="398866"/>
            <a:ext cx="271640" cy="11408939"/>
          </a:xfrm>
          <a:prstGeom prst="rightBrace">
            <a:avLst>
              <a:gd name="adj1" fmla="val 48460"/>
              <a:gd name="adj2" fmla="val 49841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Title 1">
            <a:extLst>
              <a:ext uri="{FF2B5EF4-FFF2-40B4-BE49-F238E27FC236}">
                <a16:creationId xmlns:a16="http://schemas.microsoft.com/office/drawing/2014/main" id="{E4B4DC97-3EBB-4DA5-B8DF-1E36FFBF55BB}"/>
              </a:ext>
            </a:extLst>
          </p:cNvPr>
          <p:cNvSpPr txBox="1">
            <a:spLocks/>
          </p:cNvSpPr>
          <p:nvPr/>
        </p:nvSpPr>
        <p:spPr>
          <a:xfrm>
            <a:off x="268080" y="277696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rmAutofit/>
          </a:bodyPr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4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</a:t>
            </a:r>
            <a:r>
              <a:rPr lang="en-US" sz="2400" cap="all" spc="800" dirty="0" err="1">
                <a:solidFill>
                  <a:srgbClr val="0078D7"/>
                </a:solidFill>
                <a:latin typeface="Segoe UI Light" charset="0"/>
                <a:cs typeface="Segoe UI Light" charset="0"/>
              </a:rPr>
              <a:t>Databricks</a:t>
            </a:r>
            <a:endParaRPr lang="en-US" sz="2400" cap="all" spc="800" dirty="0">
              <a:solidFill>
                <a:srgbClr val="0078D7"/>
              </a:solidFill>
              <a:latin typeface="Segoe UI Light" charset="0"/>
              <a:cs typeface="Segoe U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642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F5DF6-0215-4815-94F2-4C113CDE19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Core ARTIFACT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E5C7B45-068E-42BE-A21E-AC43DD6BA531}"/>
              </a:ext>
            </a:extLst>
          </p:cNvPr>
          <p:cNvGrpSpPr/>
          <p:nvPr/>
        </p:nvGrpSpPr>
        <p:grpSpPr>
          <a:xfrm>
            <a:off x="2570811" y="1469524"/>
            <a:ext cx="7491454" cy="4320807"/>
            <a:chOff x="2109634" y="1755771"/>
            <a:chExt cx="7491454" cy="432080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7D2198D-1519-4C32-A77E-B369104B776D}"/>
                </a:ext>
              </a:extLst>
            </p:cNvPr>
            <p:cNvGrpSpPr/>
            <p:nvPr/>
          </p:nvGrpSpPr>
          <p:grpSpPr>
            <a:xfrm>
              <a:off x="2109634" y="2833647"/>
              <a:ext cx="1812898" cy="1011803"/>
              <a:chOff x="2109634" y="2571254"/>
              <a:chExt cx="1812898" cy="1011803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19717505-D8F8-40AF-B905-5C59531BB3F1}"/>
                  </a:ext>
                </a:extLst>
              </p:cNvPr>
              <p:cNvSpPr/>
              <p:nvPr/>
            </p:nvSpPr>
            <p:spPr bwMode="auto">
              <a:xfrm>
                <a:off x="2109634" y="2571254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braries</a:t>
                </a:r>
              </a:p>
            </p:txBody>
          </p:sp>
          <p:pic>
            <p:nvPicPr>
              <p:cNvPr id="10244" name="Picture 4" descr="Image result for Library Icon">
                <a:extLst>
                  <a:ext uri="{FF2B5EF4-FFF2-40B4-BE49-F238E27FC236}">
                    <a16:creationId xmlns:a16="http://schemas.microsoft.com/office/drawing/2014/main" id="{8BA9D34D-8C95-4BF8-992B-F350A7B5BC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50971" y="3039912"/>
                <a:ext cx="530224" cy="5302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59F7594-029D-4547-B451-3085892002F6}"/>
                </a:ext>
              </a:extLst>
            </p:cNvPr>
            <p:cNvGrpSpPr/>
            <p:nvPr/>
          </p:nvGrpSpPr>
          <p:grpSpPr>
            <a:xfrm>
              <a:off x="2109634" y="5041127"/>
              <a:ext cx="1812898" cy="1011803"/>
              <a:chOff x="2109634" y="4997727"/>
              <a:chExt cx="1812898" cy="1011803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164CAD61-F130-44BC-AD9C-5B566F0D93F2}"/>
                  </a:ext>
                </a:extLst>
              </p:cNvPr>
              <p:cNvSpPr/>
              <p:nvPr/>
            </p:nvSpPr>
            <p:spPr bwMode="auto">
              <a:xfrm>
                <a:off x="2109634" y="4997727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Jobs</a:t>
                </a:r>
              </a:p>
            </p:txBody>
          </p:sp>
          <p:pic>
            <p:nvPicPr>
              <p:cNvPr id="10246" name="Picture 6" descr="Image result for Jobs icon">
                <a:extLst>
                  <a:ext uri="{FF2B5EF4-FFF2-40B4-BE49-F238E27FC236}">
                    <a16:creationId xmlns:a16="http://schemas.microsoft.com/office/drawing/2014/main" id="{9C0ACB7D-4C4A-4F92-9E59-B2090CC483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98810" y="5527277"/>
                <a:ext cx="434547" cy="4345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01EC156-90FC-4BE5-B1CB-0C6B92C2F381}"/>
                </a:ext>
              </a:extLst>
            </p:cNvPr>
            <p:cNvGrpSpPr/>
            <p:nvPr/>
          </p:nvGrpSpPr>
          <p:grpSpPr>
            <a:xfrm>
              <a:off x="5069775" y="1755771"/>
              <a:ext cx="1812898" cy="1011803"/>
              <a:chOff x="5112688" y="1776938"/>
              <a:chExt cx="1812898" cy="1011803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EF8356AA-389C-45BD-BAAB-72927825CB9D}"/>
                  </a:ext>
                </a:extLst>
              </p:cNvPr>
              <p:cNvSpPr/>
              <p:nvPr/>
            </p:nvSpPr>
            <p:spPr bwMode="auto">
              <a:xfrm>
                <a:off x="5112688" y="1776938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lusters</a:t>
                </a:r>
              </a:p>
            </p:txBody>
          </p:sp>
          <p:pic>
            <p:nvPicPr>
              <p:cNvPr id="10248" name="Picture 8" descr="http://www.pvhc.net/img117/vgrtpziemvqlakyhofwc.png">
                <a:extLst>
                  <a:ext uri="{FF2B5EF4-FFF2-40B4-BE49-F238E27FC236}">
                    <a16:creationId xmlns:a16="http://schemas.microsoft.com/office/drawing/2014/main" id="{CB3D61D8-56B5-4BA5-B3B3-8E2F583601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88304" y="2259777"/>
                <a:ext cx="461666" cy="4616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CD23BA1-A373-49F4-8B65-628554CFDDDC}"/>
                </a:ext>
              </a:extLst>
            </p:cNvPr>
            <p:cNvGrpSpPr/>
            <p:nvPr/>
          </p:nvGrpSpPr>
          <p:grpSpPr>
            <a:xfrm>
              <a:off x="7788190" y="2833647"/>
              <a:ext cx="1812898" cy="1011803"/>
              <a:chOff x="7788190" y="2571254"/>
              <a:chExt cx="1812898" cy="1011803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3F702C25-9422-48ED-83DD-A7ECCA2F39D2}"/>
                  </a:ext>
                </a:extLst>
              </p:cNvPr>
              <p:cNvSpPr/>
              <p:nvPr/>
            </p:nvSpPr>
            <p:spPr bwMode="auto">
              <a:xfrm>
                <a:off x="7788190" y="2571254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Workspaces</a:t>
                </a: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6C8FF424-274F-434B-BBDD-AC84CACF1C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396740" y="3074191"/>
                <a:ext cx="595799" cy="461666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3C0D53A-3F89-40CC-AE40-03A947880CA1}"/>
                </a:ext>
              </a:extLst>
            </p:cNvPr>
            <p:cNvGrpSpPr/>
            <p:nvPr/>
          </p:nvGrpSpPr>
          <p:grpSpPr>
            <a:xfrm>
              <a:off x="7788190" y="5064775"/>
              <a:ext cx="1812898" cy="1011803"/>
              <a:chOff x="7764173" y="5054506"/>
              <a:chExt cx="1812898" cy="1011803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34BF1CA6-D5AE-44C9-98BB-E9FF9810CECD}"/>
                  </a:ext>
                </a:extLst>
              </p:cNvPr>
              <p:cNvSpPr/>
              <p:nvPr/>
            </p:nvSpPr>
            <p:spPr bwMode="auto">
              <a:xfrm>
                <a:off x="7764173" y="5054506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Notebooks</a:t>
                </a:r>
              </a:p>
            </p:txBody>
          </p:sp>
          <p:pic>
            <p:nvPicPr>
              <p:cNvPr id="10252" name="Picture 12" descr="Image result for Spark Notebooks icon">
                <a:extLst>
                  <a:ext uri="{FF2B5EF4-FFF2-40B4-BE49-F238E27FC236}">
                    <a16:creationId xmlns:a16="http://schemas.microsoft.com/office/drawing/2014/main" id="{88C639F0-1054-49AE-BB60-1699EF237E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20319" y="5598210"/>
                <a:ext cx="548640" cy="292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909559C-5C04-4C16-9F10-A8829182164D}"/>
                </a:ext>
              </a:extLst>
            </p:cNvPr>
            <p:cNvCxnSpPr>
              <a:cxnSpLocks/>
              <a:stCxn id="6" idx="3"/>
              <a:endCxn id="32" idx="1"/>
            </p:cNvCxnSpPr>
            <p:nvPr/>
          </p:nvCxnSpPr>
          <p:spPr>
            <a:xfrm>
              <a:off x="3922532" y="3339549"/>
              <a:ext cx="1114451" cy="758204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9472ABA-3BF7-48DC-BCE6-04F44427FA3C}"/>
                </a:ext>
              </a:extLst>
            </p:cNvPr>
            <p:cNvCxnSpPr>
              <a:cxnSpLocks/>
              <a:stCxn id="7" idx="2"/>
              <a:endCxn id="32" idx="0"/>
            </p:cNvCxnSpPr>
            <p:nvPr/>
          </p:nvCxnSpPr>
          <p:spPr>
            <a:xfrm>
              <a:off x="5976224" y="2767574"/>
              <a:ext cx="14305" cy="1168322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E775561-0554-4F20-B6C2-0A7A8300ABBF}"/>
                </a:ext>
              </a:extLst>
            </p:cNvPr>
            <p:cNvCxnSpPr>
              <a:cxnSpLocks/>
              <a:stCxn id="9" idx="3"/>
              <a:endCxn id="32" idx="3"/>
            </p:cNvCxnSpPr>
            <p:nvPr/>
          </p:nvCxnSpPr>
          <p:spPr>
            <a:xfrm flipV="1">
              <a:off x="3922532" y="4879270"/>
              <a:ext cx="1114451" cy="667759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B21201D-42F7-495F-A525-23C61744119F}"/>
                </a:ext>
              </a:extLst>
            </p:cNvPr>
            <p:cNvCxnSpPr>
              <a:cxnSpLocks/>
              <a:stCxn id="8" idx="1"/>
              <a:endCxn id="32" idx="7"/>
            </p:cNvCxnSpPr>
            <p:nvPr/>
          </p:nvCxnSpPr>
          <p:spPr>
            <a:xfrm flipH="1">
              <a:off x="6944074" y="3339549"/>
              <a:ext cx="844116" cy="758204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42B2309-050B-444B-B3E3-F8960D842A4C}"/>
                </a:ext>
              </a:extLst>
            </p:cNvPr>
            <p:cNvCxnSpPr>
              <a:cxnSpLocks/>
              <a:stCxn id="10" idx="1"/>
              <a:endCxn id="32" idx="5"/>
            </p:cNvCxnSpPr>
            <p:nvPr/>
          </p:nvCxnSpPr>
          <p:spPr>
            <a:xfrm flipH="1" flipV="1">
              <a:off x="6944074" y="4879270"/>
              <a:ext cx="844116" cy="691407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57BE93E-8FFB-4C69-988B-FE3A386E5BEB}"/>
                </a:ext>
              </a:extLst>
            </p:cNvPr>
            <p:cNvSpPr/>
            <p:nvPr/>
          </p:nvSpPr>
          <p:spPr bwMode="auto">
            <a:xfrm>
              <a:off x="4642012" y="3935896"/>
              <a:ext cx="2697033" cy="1105231"/>
            </a:xfrm>
            <a:prstGeom prst="ellipse">
              <a:avLst/>
            </a:prstGeom>
            <a:solidFill>
              <a:srgbClr val="FF66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Azure Databric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491643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82">
            <a:extLst>
              <a:ext uri="{FF2B5EF4-FFF2-40B4-BE49-F238E27FC236}">
                <a16:creationId xmlns:a16="http://schemas.microsoft.com/office/drawing/2014/main" id="{9936B60F-2862-475C-8038-042780EC1BA9}"/>
              </a:ext>
            </a:extLst>
          </p:cNvPr>
          <p:cNvSpPr/>
          <p:nvPr/>
        </p:nvSpPr>
        <p:spPr bwMode="auto">
          <a:xfrm>
            <a:off x="217357" y="2422512"/>
            <a:ext cx="11767279" cy="408733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726F26-08E0-443D-AE52-E431D44EA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Cluster architecture</a:t>
            </a:r>
          </a:p>
        </p:txBody>
      </p:sp>
      <p:sp>
        <p:nvSpPr>
          <p:cNvPr id="5" name="Shape 297">
            <a:extLst>
              <a:ext uri="{FF2B5EF4-FFF2-40B4-BE49-F238E27FC236}">
                <a16:creationId xmlns:a16="http://schemas.microsoft.com/office/drawing/2014/main" id="{00DF8BA2-F901-40D1-AD20-243325B50E9E}"/>
              </a:ext>
            </a:extLst>
          </p:cNvPr>
          <p:cNvSpPr/>
          <p:nvPr/>
        </p:nvSpPr>
        <p:spPr>
          <a:xfrm>
            <a:off x="6779316" y="2720341"/>
            <a:ext cx="4966973" cy="3323582"/>
          </a:xfrm>
          <a:prstGeom prst="rect">
            <a:avLst/>
          </a:prstGeom>
          <a:solidFill>
            <a:srgbClr val="4EB1FF"/>
          </a:solidFill>
          <a:ln w="9525" cap="flat" cmpd="sng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" name="Shape 298">
            <a:extLst>
              <a:ext uri="{FF2B5EF4-FFF2-40B4-BE49-F238E27FC236}">
                <a16:creationId xmlns:a16="http://schemas.microsoft.com/office/drawing/2014/main" id="{314E5C41-DB70-4A02-BEB0-7EB415E4C370}"/>
              </a:ext>
            </a:extLst>
          </p:cNvPr>
          <p:cNvSpPr/>
          <p:nvPr/>
        </p:nvSpPr>
        <p:spPr>
          <a:xfrm>
            <a:off x="434715" y="2735002"/>
            <a:ext cx="5166378" cy="3325132"/>
          </a:xfrm>
          <a:prstGeom prst="rect">
            <a:avLst/>
          </a:prstGeom>
          <a:solidFill>
            <a:srgbClr val="4EB1F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" name="Shape 299">
            <a:extLst>
              <a:ext uri="{FF2B5EF4-FFF2-40B4-BE49-F238E27FC236}">
                <a16:creationId xmlns:a16="http://schemas.microsoft.com/office/drawing/2014/main" id="{80521073-959A-43AD-BD00-A5EA6AB51275}"/>
              </a:ext>
            </a:extLst>
          </p:cNvPr>
          <p:cNvSpPr/>
          <p:nvPr/>
        </p:nvSpPr>
        <p:spPr>
          <a:xfrm>
            <a:off x="696691" y="3925998"/>
            <a:ext cx="853598" cy="805181"/>
          </a:xfrm>
          <a:prstGeom prst="can">
            <a:avLst>
              <a:gd name="adj" fmla="val 25000"/>
            </a:avLst>
          </a:prstGeom>
          <a:solidFill>
            <a:schemeClr val="accent6"/>
          </a:solidFill>
          <a:ln w="952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</a:t>
            </a:r>
            <a:r>
              <a:rPr lang="en-US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B for</a:t>
            </a: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Post</a:t>
            </a:r>
            <a:r>
              <a:rPr lang="en-US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</a:t>
            </a: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SQL</a:t>
            </a:r>
          </a:p>
        </p:txBody>
      </p:sp>
      <p:sp>
        <p:nvSpPr>
          <p:cNvPr id="10" name="Shape 300">
            <a:extLst>
              <a:ext uri="{FF2B5EF4-FFF2-40B4-BE49-F238E27FC236}">
                <a16:creationId xmlns:a16="http://schemas.microsoft.com/office/drawing/2014/main" id="{E4E36931-DC0B-4B71-BDA8-5F83170181FD}"/>
              </a:ext>
            </a:extLst>
          </p:cNvPr>
          <p:cNvSpPr/>
          <p:nvPr/>
        </p:nvSpPr>
        <p:spPr>
          <a:xfrm>
            <a:off x="1761347" y="3016532"/>
            <a:ext cx="3458206" cy="1218000"/>
          </a:xfrm>
          <a:prstGeom prst="rect">
            <a:avLst/>
          </a:prstGeom>
          <a:solidFill>
            <a:schemeClr val="bg2"/>
          </a:solidFill>
          <a:ln w="9525" cap="flat" cmpd="sng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b" anchorCtr="0">
            <a:noAutofit/>
          </a:bodyPr>
          <a:lstStyle/>
          <a:p>
            <a:pPr lvl="0" algn="l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endParaRPr lang="en" sz="1000" dirty="0">
              <a:solidFill>
                <a:schemeClr val="dk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1" name="Shape 301">
            <a:extLst>
              <a:ext uri="{FF2B5EF4-FFF2-40B4-BE49-F238E27FC236}">
                <a16:creationId xmlns:a16="http://schemas.microsoft.com/office/drawing/2014/main" id="{E5D9383B-A964-48FE-89DA-747E7D31F8F0}"/>
              </a:ext>
            </a:extLst>
          </p:cNvPr>
          <p:cNvSpPr/>
          <p:nvPr/>
        </p:nvSpPr>
        <p:spPr>
          <a:xfrm>
            <a:off x="3016142" y="3295821"/>
            <a:ext cx="1028339" cy="617774"/>
          </a:xfrm>
          <a:prstGeom prst="rect">
            <a:avLst/>
          </a:prstGeom>
          <a:solidFill>
            <a:srgbClr val="FF9933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ebapp</a:t>
            </a:r>
          </a:p>
        </p:txBody>
      </p:sp>
      <p:sp>
        <p:nvSpPr>
          <p:cNvPr id="12" name="Shape 302">
            <a:extLst>
              <a:ext uri="{FF2B5EF4-FFF2-40B4-BE49-F238E27FC236}">
                <a16:creationId xmlns:a16="http://schemas.microsoft.com/office/drawing/2014/main" id="{E17F83F2-389B-4DE0-BCD6-65FA7EB20ED5}"/>
              </a:ext>
            </a:extLst>
          </p:cNvPr>
          <p:cNvSpPr/>
          <p:nvPr/>
        </p:nvSpPr>
        <p:spPr>
          <a:xfrm>
            <a:off x="1761347" y="4281902"/>
            <a:ext cx="3458318" cy="121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b" anchorCtr="0">
            <a:noAutofit/>
          </a:bodyPr>
          <a:lstStyle/>
          <a:p>
            <a:pPr lvl="0" algn="ctr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en" sz="1000" dirty="0">
                <a:solidFill>
                  <a:schemeClr val="dk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 Compute</a:t>
            </a:r>
          </a:p>
        </p:txBody>
      </p:sp>
      <p:sp>
        <p:nvSpPr>
          <p:cNvPr id="13" name="Shape 303">
            <a:extLst>
              <a:ext uri="{FF2B5EF4-FFF2-40B4-BE49-F238E27FC236}">
                <a16:creationId xmlns:a16="http://schemas.microsoft.com/office/drawing/2014/main" id="{FE2FCF17-0C1B-47AD-B84C-1F7EDF77651E}"/>
              </a:ext>
            </a:extLst>
          </p:cNvPr>
          <p:cNvSpPr/>
          <p:nvPr/>
        </p:nvSpPr>
        <p:spPr>
          <a:xfrm>
            <a:off x="4306300" y="4459182"/>
            <a:ext cx="829500" cy="57016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luster Manager</a:t>
            </a:r>
          </a:p>
        </p:txBody>
      </p:sp>
      <p:sp>
        <p:nvSpPr>
          <p:cNvPr id="14" name="Shape 304">
            <a:extLst>
              <a:ext uri="{FF2B5EF4-FFF2-40B4-BE49-F238E27FC236}">
                <a16:creationId xmlns:a16="http://schemas.microsoft.com/office/drawing/2014/main" id="{283A9F24-F67B-4602-943C-A90D9CF99ED1}"/>
              </a:ext>
            </a:extLst>
          </p:cNvPr>
          <p:cNvSpPr txBox="1"/>
          <p:nvPr/>
        </p:nvSpPr>
        <p:spPr>
          <a:xfrm>
            <a:off x="2290848" y="5712755"/>
            <a:ext cx="2430202" cy="32961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1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bricks’ A</a:t>
            </a:r>
            <a:r>
              <a:rPr lang="en-US" sz="1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zure</a:t>
            </a:r>
            <a:r>
              <a:rPr lang="en" sz="1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Account </a:t>
            </a:r>
          </a:p>
        </p:txBody>
      </p:sp>
      <p:sp>
        <p:nvSpPr>
          <p:cNvPr id="15" name="Shape 305">
            <a:extLst>
              <a:ext uri="{FF2B5EF4-FFF2-40B4-BE49-F238E27FC236}">
                <a16:creationId xmlns:a16="http://schemas.microsoft.com/office/drawing/2014/main" id="{F1252BE1-691B-4E18-9F74-C762318F7E90}"/>
              </a:ext>
            </a:extLst>
          </p:cNvPr>
          <p:cNvSpPr txBox="1"/>
          <p:nvPr/>
        </p:nvSpPr>
        <p:spPr>
          <a:xfrm>
            <a:off x="8565555" y="5729527"/>
            <a:ext cx="2075313" cy="27886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>
            <a:defPPr>
              <a:defRPr lang="en-US"/>
            </a:defPPr>
            <a:lvl1pPr lvl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User’s A</a:t>
            </a:r>
            <a:r>
              <a:rPr lang="en-US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zure</a:t>
            </a:r>
            <a:r>
              <a:rPr lang="en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Account</a:t>
            </a:r>
          </a:p>
        </p:txBody>
      </p:sp>
      <p:cxnSp>
        <p:nvCxnSpPr>
          <p:cNvPr id="16" name="Shape 307">
            <a:extLst>
              <a:ext uri="{FF2B5EF4-FFF2-40B4-BE49-F238E27FC236}">
                <a16:creationId xmlns:a16="http://schemas.microsoft.com/office/drawing/2014/main" id="{37F87DCF-27BD-4E2F-9030-1460A0D50214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3530187" y="2389002"/>
            <a:ext cx="125" cy="906819"/>
          </a:xfrm>
          <a:prstGeom prst="straightConnector1">
            <a:avLst/>
          </a:prstGeom>
          <a:noFill/>
          <a:ln w="19050" cap="flat" cmpd="sng">
            <a:solidFill>
              <a:srgbClr val="FF0000"/>
            </a:solidFill>
            <a:prstDash val="solid"/>
            <a:round/>
            <a:headEnd type="none" w="lg" len="lg"/>
            <a:tailEnd type="stealth" w="lg" len="lg"/>
          </a:ln>
        </p:spPr>
      </p:cxnSp>
      <p:sp>
        <p:nvSpPr>
          <p:cNvPr id="17" name="Shape 308">
            <a:extLst>
              <a:ext uri="{FF2B5EF4-FFF2-40B4-BE49-F238E27FC236}">
                <a16:creationId xmlns:a16="http://schemas.microsoft.com/office/drawing/2014/main" id="{C8E2E3B7-A955-4BE8-9246-A45E3B28BBC8}"/>
              </a:ext>
            </a:extLst>
          </p:cNvPr>
          <p:cNvSpPr/>
          <p:nvPr/>
        </p:nvSpPr>
        <p:spPr>
          <a:xfrm>
            <a:off x="7392682" y="3723259"/>
            <a:ext cx="1172873" cy="1192204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b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zure Compute</a:t>
            </a:r>
          </a:p>
        </p:txBody>
      </p:sp>
      <p:sp>
        <p:nvSpPr>
          <p:cNvPr id="18" name="Shape 309">
            <a:extLst>
              <a:ext uri="{FF2B5EF4-FFF2-40B4-BE49-F238E27FC236}">
                <a16:creationId xmlns:a16="http://schemas.microsoft.com/office/drawing/2014/main" id="{B255C7A7-DCE6-478F-864B-236828631833}"/>
              </a:ext>
            </a:extLst>
          </p:cNvPr>
          <p:cNvSpPr/>
          <p:nvPr/>
        </p:nvSpPr>
        <p:spPr>
          <a:xfrm>
            <a:off x="7515399" y="3925824"/>
            <a:ext cx="961500" cy="6726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park Driver</a:t>
            </a:r>
          </a:p>
        </p:txBody>
      </p:sp>
      <p:grpSp>
        <p:nvGrpSpPr>
          <p:cNvPr id="19" name="Shape 310">
            <a:extLst>
              <a:ext uri="{FF2B5EF4-FFF2-40B4-BE49-F238E27FC236}">
                <a16:creationId xmlns:a16="http://schemas.microsoft.com/office/drawing/2014/main" id="{42A9F377-9DA4-4FFC-BB45-5C3DFE7C743E}"/>
              </a:ext>
            </a:extLst>
          </p:cNvPr>
          <p:cNvGrpSpPr/>
          <p:nvPr/>
        </p:nvGrpSpPr>
        <p:grpSpPr>
          <a:xfrm>
            <a:off x="9616006" y="3228399"/>
            <a:ext cx="1116796" cy="1053300"/>
            <a:chOff x="5278025" y="2533643"/>
            <a:chExt cx="1018500" cy="1160632"/>
          </a:xfrm>
        </p:grpSpPr>
        <p:sp>
          <p:nvSpPr>
            <p:cNvPr id="20" name="Shape 311">
              <a:extLst>
                <a:ext uri="{FF2B5EF4-FFF2-40B4-BE49-F238E27FC236}">
                  <a16:creationId xmlns:a16="http://schemas.microsoft.com/office/drawing/2014/main" id="{4D3E5959-BA0B-48C1-BE23-3779E98C7D05}"/>
                </a:ext>
              </a:extLst>
            </p:cNvPr>
            <p:cNvSpPr/>
            <p:nvPr/>
          </p:nvSpPr>
          <p:spPr>
            <a:xfrm>
              <a:off x="5278025" y="2533643"/>
              <a:ext cx="1018500" cy="1160632"/>
            </a:xfrm>
            <a:prstGeom prst="rect">
              <a:avLst/>
            </a:prstGeom>
            <a:solidFill>
              <a:schemeClr val="l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b" anchorCtr="0">
              <a:noAutofit/>
            </a:bodyPr>
            <a:lstStyle/>
            <a:p>
              <a:pPr lvl="0" algn="ctr" rtl="0">
                <a:spcBef>
                  <a:spcPts val="0"/>
                </a:spcBef>
                <a:buNone/>
              </a:pPr>
              <a:r>
                <a:rPr lang="en" sz="10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Compute</a:t>
              </a:r>
            </a:p>
          </p:txBody>
        </p:sp>
        <p:sp>
          <p:nvSpPr>
            <p:cNvPr id="21" name="Shape 312">
              <a:extLst>
                <a:ext uri="{FF2B5EF4-FFF2-40B4-BE49-F238E27FC236}">
                  <a16:creationId xmlns:a16="http://schemas.microsoft.com/office/drawing/2014/main" id="{1F85878A-91F8-4159-A696-C60788AE38F4}"/>
                </a:ext>
              </a:extLst>
            </p:cNvPr>
            <p:cNvSpPr/>
            <p:nvPr/>
          </p:nvSpPr>
          <p:spPr>
            <a:xfrm>
              <a:off x="5394550" y="2762625"/>
              <a:ext cx="780600" cy="572700"/>
            </a:xfrm>
            <a:prstGeom prst="rect">
              <a:avLst/>
            </a:prstGeom>
            <a:solidFill>
              <a:srgbClr val="D9D2E9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 algn="ctr" rtl="0">
                <a:spcBef>
                  <a:spcPts val="0"/>
                </a:spcBef>
                <a:buNone/>
              </a:pPr>
              <a:r>
                <a:rPr lang="en" sz="12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ark Worker</a:t>
              </a:r>
            </a:p>
          </p:txBody>
        </p:sp>
      </p:grpSp>
      <p:cxnSp>
        <p:nvCxnSpPr>
          <p:cNvPr id="22" name="Shape 313">
            <a:extLst>
              <a:ext uri="{FF2B5EF4-FFF2-40B4-BE49-F238E27FC236}">
                <a16:creationId xmlns:a16="http://schemas.microsoft.com/office/drawing/2014/main" id="{A6FC2B9E-3AB8-49AA-BA2C-6DCFAE408B8F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 flipV="1">
            <a:off x="8476899" y="3696074"/>
            <a:ext cx="1266878" cy="566050"/>
          </a:xfrm>
          <a:prstGeom prst="straightConnector1">
            <a:avLst/>
          </a:prstGeom>
          <a:noFill/>
          <a:ln w="19050" cap="flat" cmpd="sng">
            <a:solidFill>
              <a:srgbClr val="002050"/>
            </a:solidFill>
            <a:prstDash val="solid"/>
            <a:round/>
            <a:headEnd type="none" w="lg" len="lg"/>
            <a:tailEnd type="stealth" w="lg" len="lg"/>
          </a:ln>
        </p:spPr>
      </p:cxnSp>
      <p:grpSp>
        <p:nvGrpSpPr>
          <p:cNvPr id="23" name="Shape 314">
            <a:extLst>
              <a:ext uri="{FF2B5EF4-FFF2-40B4-BE49-F238E27FC236}">
                <a16:creationId xmlns:a16="http://schemas.microsoft.com/office/drawing/2014/main" id="{CEFA0E35-E838-40DA-8E1E-B1F776FA1A9C}"/>
              </a:ext>
            </a:extLst>
          </p:cNvPr>
          <p:cNvGrpSpPr/>
          <p:nvPr/>
        </p:nvGrpSpPr>
        <p:grpSpPr>
          <a:xfrm>
            <a:off x="9642413" y="4549322"/>
            <a:ext cx="1116796" cy="902945"/>
            <a:chOff x="5278025" y="2673075"/>
            <a:chExt cx="1018500" cy="1021200"/>
          </a:xfrm>
        </p:grpSpPr>
        <p:sp>
          <p:nvSpPr>
            <p:cNvPr id="24" name="Shape 315">
              <a:extLst>
                <a:ext uri="{FF2B5EF4-FFF2-40B4-BE49-F238E27FC236}">
                  <a16:creationId xmlns:a16="http://schemas.microsoft.com/office/drawing/2014/main" id="{BAF6668A-8103-4509-8DB5-347758AA7BAB}"/>
                </a:ext>
              </a:extLst>
            </p:cNvPr>
            <p:cNvSpPr/>
            <p:nvPr/>
          </p:nvSpPr>
          <p:spPr>
            <a:xfrm>
              <a:off x="5278025" y="2673075"/>
              <a:ext cx="1018500" cy="1021200"/>
            </a:xfrm>
            <a:prstGeom prst="rect">
              <a:avLst/>
            </a:prstGeom>
            <a:solidFill>
              <a:schemeClr val="l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b" anchorCtr="0">
              <a:noAutofit/>
            </a:bodyPr>
            <a:lstStyle/>
            <a:p>
              <a:pPr lvl="0" algn="ctr" rtl="0">
                <a:spcBef>
                  <a:spcPts val="0"/>
                </a:spcBef>
                <a:buNone/>
              </a:pPr>
              <a:r>
                <a:rPr lang="en" sz="10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Compute</a:t>
              </a:r>
            </a:p>
          </p:txBody>
        </p:sp>
        <p:sp>
          <p:nvSpPr>
            <p:cNvPr id="25" name="Shape 316">
              <a:extLst>
                <a:ext uri="{FF2B5EF4-FFF2-40B4-BE49-F238E27FC236}">
                  <a16:creationId xmlns:a16="http://schemas.microsoft.com/office/drawing/2014/main" id="{49EB6F0E-5869-49DD-87E0-8E84453090FB}"/>
                </a:ext>
              </a:extLst>
            </p:cNvPr>
            <p:cNvSpPr/>
            <p:nvPr/>
          </p:nvSpPr>
          <p:spPr>
            <a:xfrm>
              <a:off x="5408000" y="2804324"/>
              <a:ext cx="780600" cy="572700"/>
            </a:xfrm>
            <a:prstGeom prst="rect">
              <a:avLst/>
            </a:prstGeom>
            <a:solidFill>
              <a:srgbClr val="D9D2E9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 algn="ctr" rtl="0">
                <a:spcBef>
                  <a:spcPts val="0"/>
                </a:spcBef>
                <a:buNone/>
              </a:pPr>
              <a:r>
                <a:rPr lang="en" sz="12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ark Worker</a:t>
              </a:r>
            </a:p>
          </p:txBody>
        </p:sp>
      </p:grpSp>
      <p:cxnSp>
        <p:nvCxnSpPr>
          <p:cNvPr id="26" name="Shape 317">
            <a:extLst>
              <a:ext uri="{FF2B5EF4-FFF2-40B4-BE49-F238E27FC236}">
                <a16:creationId xmlns:a16="http://schemas.microsoft.com/office/drawing/2014/main" id="{7AC51321-DCAD-41D3-A20A-6158B2F70659}"/>
              </a:ext>
            </a:extLst>
          </p:cNvPr>
          <p:cNvCxnSpPr>
            <a:cxnSpLocks/>
            <a:stCxn id="18" idx="3"/>
            <a:endCxn id="25" idx="1"/>
          </p:cNvCxnSpPr>
          <p:nvPr/>
        </p:nvCxnSpPr>
        <p:spPr>
          <a:xfrm>
            <a:off x="8476899" y="4262124"/>
            <a:ext cx="1308033" cy="656439"/>
          </a:xfrm>
          <a:prstGeom prst="straightConnector1">
            <a:avLst/>
          </a:prstGeom>
          <a:noFill/>
          <a:ln w="19050" cap="flat" cmpd="sng">
            <a:solidFill>
              <a:srgbClr val="002050"/>
            </a:solidFill>
            <a:prstDash val="solid"/>
            <a:round/>
            <a:headEnd type="none" w="lg" len="lg"/>
            <a:tailEnd type="stealth" w="lg" len="lg"/>
          </a:ln>
        </p:spPr>
      </p:cxnSp>
      <p:sp>
        <p:nvSpPr>
          <p:cNvPr id="27" name="Shape 318">
            <a:extLst>
              <a:ext uri="{FF2B5EF4-FFF2-40B4-BE49-F238E27FC236}">
                <a16:creationId xmlns:a16="http://schemas.microsoft.com/office/drawing/2014/main" id="{E3AFB305-52F2-417F-98B8-EDA94668D58E}"/>
              </a:ext>
            </a:extLst>
          </p:cNvPr>
          <p:cNvSpPr/>
          <p:nvPr/>
        </p:nvSpPr>
        <p:spPr>
          <a:xfrm>
            <a:off x="3115561" y="4459182"/>
            <a:ext cx="829500" cy="57016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Jobs</a:t>
            </a:r>
          </a:p>
        </p:txBody>
      </p:sp>
      <p:sp>
        <p:nvSpPr>
          <p:cNvPr id="28" name="Shape 319">
            <a:extLst>
              <a:ext uri="{FF2B5EF4-FFF2-40B4-BE49-F238E27FC236}">
                <a16:creationId xmlns:a16="http://schemas.microsoft.com/office/drawing/2014/main" id="{739F7DE9-8847-40C5-B490-3249BE99782C}"/>
              </a:ext>
            </a:extLst>
          </p:cNvPr>
          <p:cNvSpPr/>
          <p:nvPr/>
        </p:nvSpPr>
        <p:spPr>
          <a:xfrm>
            <a:off x="1953088" y="4459182"/>
            <a:ext cx="798000" cy="570166"/>
          </a:xfrm>
          <a:prstGeom prst="rect">
            <a:avLst/>
          </a:prstGeom>
          <a:solidFill>
            <a:srgbClr val="00B0F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ileSystem</a:t>
            </a:r>
          </a:p>
          <a:p>
            <a:pPr lvl="0" algn="ctr" rtl="0">
              <a:spcBef>
                <a:spcPts val="0"/>
              </a:spcBef>
              <a:buNone/>
            </a:pP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ervice </a:t>
            </a:r>
          </a:p>
        </p:txBody>
      </p:sp>
      <p:sp>
        <p:nvSpPr>
          <p:cNvPr id="29" name="Shape 320">
            <a:extLst>
              <a:ext uri="{FF2B5EF4-FFF2-40B4-BE49-F238E27FC236}">
                <a16:creationId xmlns:a16="http://schemas.microsoft.com/office/drawing/2014/main" id="{532735C7-CF52-472B-95EF-D52F243C2B18}"/>
              </a:ext>
            </a:extLst>
          </p:cNvPr>
          <p:cNvSpPr/>
          <p:nvPr/>
        </p:nvSpPr>
        <p:spPr>
          <a:xfrm>
            <a:off x="1856248" y="3275041"/>
            <a:ext cx="798000" cy="614700"/>
          </a:xfrm>
          <a:prstGeom prst="rect">
            <a:avLst/>
          </a:pr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park History Server</a:t>
            </a:r>
          </a:p>
        </p:txBody>
      </p:sp>
      <p:cxnSp>
        <p:nvCxnSpPr>
          <p:cNvPr id="30" name="Shape 321">
            <a:extLst>
              <a:ext uri="{FF2B5EF4-FFF2-40B4-BE49-F238E27FC236}">
                <a16:creationId xmlns:a16="http://schemas.microsoft.com/office/drawing/2014/main" id="{62FCE5BC-7F56-44A1-8FE5-CB6DC2D43E27}"/>
              </a:ext>
            </a:extLst>
          </p:cNvPr>
          <p:cNvCxnSpPr>
            <a:cxnSpLocks/>
            <a:stCxn id="11" idx="1"/>
            <a:endCxn id="29" idx="3"/>
          </p:cNvCxnSpPr>
          <p:nvPr/>
        </p:nvCxnSpPr>
        <p:spPr>
          <a:xfrm flipH="1" flipV="1">
            <a:off x="2654248" y="3582391"/>
            <a:ext cx="361894" cy="22317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31" name="Shape 322">
            <a:extLst>
              <a:ext uri="{FF2B5EF4-FFF2-40B4-BE49-F238E27FC236}">
                <a16:creationId xmlns:a16="http://schemas.microsoft.com/office/drawing/2014/main" id="{403C5A52-869A-44D3-B6AB-22EEB22AC57F}"/>
              </a:ext>
            </a:extLst>
          </p:cNvPr>
          <p:cNvCxnSpPr>
            <a:cxnSpLocks/>
            <a:stCxn id="11" idx="2"/>
            <a:endCxn id="28" idx="0"/>
          </p:cNvCxnSpPr>
          <p:nvPr/>
        </p:nvCxnSpPr>
        <p:spPr>
          <a:xfrm flipH="1">
            <a:off x="2352088" y="3913595"/>
            <a:ext cx="1178224" cy="545587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32" name="Shape 323">
            <a:extLst>
              <a:ext uri="{FF2B5EF4-FFF2-40B4-BE49-F238E27FC236}">
                <a16:creationId xmlns:a16="http://schemas.microsoft.com/office/drawing/2014/main" id="{E13B4058-E102-4B8E-9F97-775D01F6B59E}"/>
              </a:ext>
            </a:extLst>
          </p:cNvPr>
          <p:cNvCxnSpPr>
            <a:cxnSpLocks/>
            <a:stCxn id="11" idx="2"/>
            <a:endCxn id="27" idx="0"/>
          </p:cNvCxnSpPr>
          <p:nvPr/>
        </p:nvCxnSpPr>
        <p:spPr>
          <a:xfrm flipH="1">
            <a:off x="3530311" y="3913595"/>
            <a:ext cx="1" cy="545587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33" name="Shape 324">
            <a:extLst>
              <a:ext uri="{FF2B5EF4-FFF2-40B4-BE49-F238E27FC236}">
                <a16:creationId xmlns:a16="http://schemas.microsoft.com/office/drawing/2014/main" id="{43A94862-02A8-4B3B-87F3-540ECB634483}"/>
              </a:ext>
            </a:extLst>
          </p:cNvPr>
          <p:cNvCxnSpPr>
            <a:cxnSpLocks/>
            <a:stCxn id="11" idx="2"/>
            <a:endCxn id="13" idx="0"/>
          </p:cNvCxnSpPr>
          <p:nvPr/>
        </p:nvCxnSpPr>
        <p:spPr>
          <a:xfrm>
            <a:off x="3530312" y="3913595"/>
            <a:ext cx="1190738" cy="545587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34" name="Shape 325">
            <a:extLst>
              <a:ext uri="{FF2B5EF4-FFF2-40B4-BE49-F238E27FC236}">
                <a16:creationId xmlns:a16="http://schemas.microsoft.com/office/drawing/2014/main" id="{D57C6021-1408-402E-87E7-F5AA26697DBE}"/>
              </a:ext>
            </a:extLst>
          </p:cNvPr>
          <p:cNvSpPr/>
          <p:nvPr/>
        </p:nvSpPr>
        <p:spPr>
          <a:xfrm>
            <a:off x="5601094" y="4119719"/>
            <a:ext cx="1077076" cy="497978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bg2">
              <a:lumMod val="5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7" name="Shape 328">
            <a:extLst>
              <a:ext uri="{FF2B5EF4-FFF2-40B4-BE49-F238E27FC236}">
                <a16:creationId xmlns:a16="http://schemas.microsoft.com/office/drawing/2014/main" id="{E2A12399-8C3D-4DE3-8EE2-C39A70244531}"/>
              </a:ext>
            </a:extLst>
          </p:cNvPr>
          <p:cNvSpPr/>
          <p:nvPr/>
        </p:nvSpPr>
        <p:spPr>
          <a:xfrm>
            <a:off x="1953113" y="5076781"/>
            <a:ext cx="798000" cy="35985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g Daemon</a:t>
            </a:r>
          </a:p>
        </p:txBody>
      </p:sp>
      <p:sp>
        <p:nvSpPr>
          <p:cNvPr id="38" name="Shape 329">
            <a:extLst>
              <a:ext uri="{FF2B5EF4-FFF2-40B4-BE49-F238E27FC236}">
                <a16:creationId xmlns:a16="http://schemas.microsoft.com/office/drawing/2014/main" id="{6E0442DB-07FB-40CD-B641-6E16D1D12B30}"/>
              </a:ext>
            </a:extLst>
          </p:cNvPr>
          <p:cNvSpPr/>
          <p:nvPr/>
        </p:nvSpPr>
        <p:spPr>
          <a:xfrm>
            <a:off x="4368123" y="3271966"/>
            <a:ext cx="798000" cy="41238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n" sz="1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g Daemon</a:t>
            </a:r>
          </a:p>
        </p:txBody>
      </p:sp>
      <p:pic>
        <p:nvPicPr>
          <p:cNvPr id="40" name="Shape 306" descr="User (computing)">
            <a:extLst>
              <a:ext uri="{FF2B5EF4-FFF2-40B4-BE49-F238E27FC236}">
                <a16:creationId xmlns:a16="http://schemas.microsoft.com/office/drawing/2014/main" id="{29B8D6A0-932B-42EF-A410-3A09C08A154B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211454" y="1767506"/>
            <a:ext cx="637465" cy="637465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Picture 2" descr="https://www.onmsft.com/wp-content/uploads/2017/09/Azure-1050x437.png.pagespeed.ce.UEo5r3u7ZS.png">
            <a:extLst>
              <a:ext uri="{FF2B5EF4-FFF2-40B4-BE49-F238E27FC236}">
                <a16:creationId xmlns:a16="http://schemas.microsoft.com/office/drawing/2014/main" id="{91FB350D-0DA7-4E19-AC59-3A05927527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713" y="6106092"/>
            <a:ext cx="870567" cy="362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D4E26811-2CE7-43D7-A1E6-355C4149E09A}"/>
              </a:ext>
            </a:extLst>
          </p:cNvPr>
          <p:cNvSpPr txBox="1"/>
          <p:nvPr/>
        </p:nvSpPr>
        <p:spPr>
          <a:xfrm>
            <a:off x="1061626" y="6268729"/>
            <a:ext cx="4463145" cy="166199"/>
          </a:xfrm>
          <a:prstGeom prst="rect">
            <a:avLst/>
          </a:prstGeom>
          <a:noFill/>
        </p:spPr>
        <p:txBody>
          <a:bodyPr wrap="none" lIns="182880" tIns="0" rIns="182880" bIns="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Resource in the Databricks’ account are not visible to users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07C000BE-F828-41F0-90B5-CBB358D58709}"/>
              </a:ext>
            </a:extLst>
          </p:cNvPr>
          <p:cNvCxnSpPr/>
          <p:nvPr/>
        </p:nvCxnSpPr>
        <p:spPr>
          <a:xfrm flipV="1">
            <a:off x="3304134" y="6042373"/>
            <a:ext cx="0" cy="209751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72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General Spark Cluster Architectur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9132" y="2103066"/>
            <a:ext cx="5156248" cy="2923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52912" lvl="1" defTabSz="913770" fontAlgn="base">
              <a:spcBef>
                <a:spcPts val="588"/>
              </a:spcBef>
              <a:spcAft>
                <a:spcPts val="588"/>
              </a:spcAft>
              <a:buClr>
                <a:srgbClr val="68217A">
                  <a:lumMod val="50000"/>
                </a:srgbClr>
              </a:buClr>
              <a:tabLst>
                <a:tab pos="645523" algn="l"/>
              </a:tabLst>
              <a:defRPr sz="2353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defRPr>
            </a:lvl2pPr>
          </a:lstStyle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‘Driver’ runs the user’s ‘main’ function and executes the various parallel operations on the worker nodes.  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results of the operations are collected by the driver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worker nodes read and write data from/to Data Sources including HDFS.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orker node also cache transformed data in memory as RDDs (Resilient Data Sets).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orker nodes and the Driver Node execute as VMs in public clouds (AWS, Google and Azure)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B5844B7-FF6C-472A-BFEB-762332AD1146}"/>
              </a:ext>
            </a:extLst>
          </p:cNvPr>
          <p:cNvGrpSpPr/>
          <p:nvPr/>
        </p:nvGrpSpPr>
        <p:grpSpPr>
          <a:xfrm>
            <a:off x="5655900" y="1105109"/>
            <a:ext cx="6466928" cy="5610516"/>
            <a:chOff x="199481" y="1172565"/>
            <a:chExt cx="6466928" cy="561051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87CD346-F7D0-4E49-8170-AB5A5350DBFE}"/>
                </a:ext>
              </a:extLst>
            </p:cNvPr>
            <p:cNvSpPr/>
            <p:nvPr/>
          </p:nvSpPr>
          <p:spPr bwMode="auto">
            <a:xfrm>
              <a:off x="199481" y="1172565"/>
              <a:ext cx="6466928" cy="561051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2204289" y="2666733"/>
              <a:ext cx="2586477" cy="62785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4867079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832603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624231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627075" y="5693561"/>
              <a:ext cx="5740906" cy="902396"/>
            </a:xfrm>
            <a:prstGeom prst="roundRect">
              <a:avLst/>
            </a:prstGeom>
            <a:solidFill>
              <a:srgbClr val="4EB1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Data Sources (HDFS, SQL, NoSQL, …)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417027" y="2791061"/>
              <a:ext cx="2161002" cy="42745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uster Manager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32020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984803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074868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cxnSp>
          <p:nvCxnSpPr>
            <p:cNvPr id="21" name="Straight Arrow Connector 20"/>
            <p:cNvCxnSpPr/>
            <p:nvPr/>
          </p:nvCxnSpPr>
          <p:spPr>
            <a:xfrm flipV="1">
              <a:off x="1289155" y="5022703"/>
              <a:ext cx="1" cy="644600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cxnSpLocks/>
            </p:cNvCxnSpPr>
            <p:nvPr/>
          </p:nvCxnSpPr>
          <p:spPr>
            <a:xfrm flipV="1">
              <a:off x="3496503" y="5022703"/>
              <a:ext cx="2047" cy="683238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flipV="1">
              <a:off x="5532003" y="5030624"/>
              <a:ext cx="1" cy="644600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 bwMode="auto">
            <a:xfrm>
              <a:off x="884338" y="4588768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3092710" y="4540127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5127186" y="4566012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889286" y="4135591"/>
              <a:ext cx="799736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3083716" y="4081472"/>
              <a:ext cx="809633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5127186" y="4093572"/>
              <a:ext cx="809633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50635" y="4191987"/>
              <a:ext cx="677041" cy="23906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 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120601" y="4096382"/>
              <a:ext cx="753853" cy="29486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 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138626" y="4180045"/>
              <a:ext cx="786752" cy="155279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208451" y="4664882"/>
              <a:ext cx="647102" cy="20351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105266" y="4626138"/>
              <a:ext cx="784521" cy="17124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950635" y="4629332"/>
              <a:ext cx="677041" cy="23906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cxnSp>
          <p:nvCxnSpPr>
            <p:cNvPr id="42" name="Straight Arrow Connector 41"/>
            <p:cNvCxnSpPr>
              <a:cxnSpLocks/>
              <a:stCxn id="5" idx="2"/>
              <a:endCxn id="8" idx="0"/>
            </p:cNvCxnSpPr>
            <p:nvPr/>
          </p:nvCxnSpPr>
          <p:spPr>
            <a:xfrm flipH="1">
              <a:off x="1289156" y="3294585"/>
              <a:ext cx="2208373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cxnSpLocks/>
              <a:stCxn id="5" idx="2"/>
              <a:endCxn id="7" idx="0"/>
            </p:cNvCxnSpPr>
            <p:nvPr/>
          </p:nvCxnSpPr>
          <p:spPr>
            <a:xfrm>
              <a:off x="3497528" y="3294585"/>
              <a:ext cx="0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>
              <a:cxnSpLocks/>
              <a:stCxn id="5" idx="2"/>
              <a:endCxn id="6" idx="0"/>
            </p:cNvCxnSpPr>
            <p:nvPr/>
          </p:nvCxnSpPr>
          <p:spPr>
            <a:xfrm>
              <a:off x="3497528" y="3294585"/>
              <a:ext cx="2034476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/>
          </p:nvSpPr>
          <p:spPr bwMode="auto">
            <a:xfrm>
              <a:off x="2221112" y="1517082"/>
              <a:ext cx="2552831" cy="71777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rgbClr val="FFFFFF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79" name="Straight Arrow Connector 78"/>
            <p:cNvCxnSpPr>
              <a:cxnSpLocks/>
              <a:stCxn id="72" idx="2"/>
              <a:endCxn id="5" idx="0"/>
            </p:cNvCxnSpPr>
            <p:nvPr/>
          </p:nvCxnSpPr>
          <p:spPr>
            <a:xfrm>
              <a:off x="3497528" y="2234858"/>
              <a:ext cx="0" cy="431875"/>
            </a:xfrm>
            <a:prstGeom prst="straightConnector1">
              <a:avLst/>
            </a:prstGeom>
            <a:ln w="285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/>
            <p:cNvSpPr txBox="1"/>
            <p:nvPr/>
          </p:nvSpPr>
          <p:spPr>
            <a:xfrm>
              <a:off x="2417027" y="1642217"/>
              <a:ext cx="2161002" cy="42745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river Program</a:t>
              </a:r>
              <a:br>
                <a:rPr lang="en-US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60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arkContex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91836AC-AB46-41F8-8759-C89F4A4D1191}"/>
              </a:ext>
            </a:extLst>
          </p:cNvPr>
          <p:cNvSpPr/>
          <p:nvPr/>
        </p:nvSpPr>
        <p:spPr bwMode="auto">
          <a:xfrm>
            <a:off x="5748728" y="1105109"/>
            <a:ext cx="6294140" cy="561051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72443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2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3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4.xml><?xml version="1.0" encoding="utf-8"?>
<a:theme xmlns:a="http://schemas.openxmlformats.org/drawingml/2006/main" name="Server and Cloud 2013">
  <a:themeElements>
    <a:clrScheme name="STB Template">
      <a:dk1>
        <a:srgbClr val="505050"/>
      </a:dk1>
      <a:lt1>
        <a:srgbClr val="FFFFFF"/>
      </a:lt1>
      <a:dk2>
        <a:srgbClr val="008272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465D01F-9AE6-47ED-AC67-4D8944814AA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40C136023E5B4A88D53BBD83710086" ma:contentTypeVersion="2" ma:contentTypeDescription="Create a new document." ma:contentTypeScope="" ma:versionID="780429c4e93c1c814dce9459e30ce7bb">
  <xsd:schema xmlns:xsd="http://www.w3.org/2001/XMLSchema" xmlns:xs="http://www.w3.org/2001/XMLSchema" xmlns:p="http://schemas.microsoft.com/office/2006/metadata/properties" xmlns:ns2="a430bc81-73df-40e6-b2a8-15c0f0568b36" targetNamespace="http://schemas.microsoft.com/office/2006/metadata/properties" ma:root="true" ma:fieldsID="63af91ae1779fe2bb33da62f3e6d0b35" ns2:_="">
    <xsd:import namespace="a430bc81-73df-40e6-b2a8-15c0f0568b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0bc81-73df-40e6-b2a8-15c0f0568b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9ABBEE-2966-4637-8A6B-1EE4065782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9B241FD-B865-4ACD-96C9-EDAC184C275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4FE33B0-7B74-4788-8331-2664B7C745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0bc81-73df-40e6-b2a8-15c0f0568b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QL Data Warehouse</Template>
  <TotalTime>0</TotalTime>
  <Words>1900</Words>
  <Application>Microsoft Office PowerPoint</Application>
  <PresentationFormat>Widescreen</PresentationFormat>
  <Paragraphs>365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0" baseType="lpstr">
      <vt:lpstr>Arial</vt:lpstr>
      <vt:lpstr>Calibri</vt:lpstr>
      <vt:lpstr>Calibri Light</vt:lpstr>
      <vt:lpstr>Segoe UI</vt:lpstr>
      <vt:lpstr>Segoe UI Light</vt:lpstr>
      <vt:lpstr>Segoe UI Semibold</vt:lpstr>
      <vt:lpstr>Segoe UI Semilight</vt:lpstr>
      <vt:lpstr>Source Sans Pro</vt:lpstr>
      <vt:lpstr>Wingdings</vt:lpstr>
      <vt:lpstr>Wingdings 3</vt:lpstr>
      <vt:lpstr>MGXFY15</vt:lpstr>
      <vt:lpstr>1_MGXFY15</vt:lpstr>
      <vt:lpstr>EBC_2017</vt:lpstr>
      <vt:lpstr>Server and Cloud 2013</vt:lpstr>
      <vt:lpstr>think-cell Slide</vt:lpstr>
      <vt:lpstr>PowerPoint Presentation</vt:lpstr>
      <vt:lpstr>Azure Databricks Databricks Spark as a managed service on Azure</vt:lpstr>
      <vt:lpstr>PowerPoint Presentation</vt:lpstr>
      <vt:lpstr>Apache Spark</vt:lpstr>
      <vt:lpstr>Databricks - Company Overview</vt:lpstr>
      <vt:lpstr>PowerPoint Presentation</vt:lpstr>
      <vt:lpstr>Azure Databricks Core ARTIFACTS</vt:lpstr>
      <vt:lpstr>Azure Databricks Cluster architecture</vt:lpstr>
      <vt:lpstr>General Spark Cluster Architecture</vt:lpstr>
      <vt:lpstr>Azure Databricks Core Concepts</vt:lpstr>
      <vt:lpstr>Provisioning Azure Databricks WORKSPACE </vt:lpstr>
      <vt:lpstr>Workspaces</vt:lpstr>
      <vt:lpstr>Clusters</vt:lpstr>
      <vt:lpstr>Azure Databricks Notebooks Overview</vt:lpstr>
      <vt:lpstr>Jobs</vt:lpstr>
      <vt:lpstr>Databricks File System (DBFS)</vt:lpstr>
      <vt:lpstr>Secure Collaboration</vt:lpstr>
      <vt:lpstr>Azure Databricks Differences </vt:lpstr>
      <vt:lpstr>Databricks Spark is fast</vt:lpstr>
      <vt:lpstr>Azure Databricks</vt:lpstr>
      <vt:lpstr>Use cases</vt:lpstr>
      <vt:lpstr>Big Data &amp; Advanced Analytics at a glance</vt:lpstr>
      <vt:lpstr>Data Engineering - Modern DW for BI</vt:lpstr>
      <vt:lpstr>Data engineering - Modern DW for SaaS App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atabricks Technical Deck</dc:title>
  <dc:subject>Azure Databricks</dc:subject>
  <dc:creator/>
  <dc:description>v1.0</dc:description>
  <cp:lastModifiedBy/>
  <cp:revision>3</cp:revision>
  <dcterms:created xsi:type="dcterms:W3CDTF">2017-07-06T18:13:01Z</dcterms:created>
  <dcterms:modified xsi:type="dcterms:W3CDTF">2020-03-15T04:24:03Z</dcterms:modified>
  <cp:category>Technic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Ref">
    <vt:lpwstr>https://api.informationprotection.azure.com/api/72f988bf-86f1-41af-91ab-2d7cd011db47</vt:lpwstr>
  </property>
  <property fmtid="{D5CDD505-2E9C-101B-9397-08002B2CF9AE}" pid="5" name="MSIP_Label_f42aa342-8706-4288-bd11-ebb85995028c_Owner">
    <vt:lpwstr>syrhee@microsoft.com</vt:lpwstr>
  </property>
  <property fmtid="{D5CDD505-2E9C-101B-9397-08002B2CF9AE}" pid="6" name="MSIP_Label_f42aa342-8706-4288-bd11-ebb85995028c_SetDate">
    <vt:lpwstr>2017-07-06T11:13:10.4024256-07:00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1440C136023E5B4A88D53BBD83710086</vt:lpwstr>
  </property>
  <property fmtid="{D5CDD505-2E9C-101B-9397-08002B2CF9AE}" pid="12" name="of67e5d4b76f4a9db8769983fda9cec0">
    <vt:lpwstr/>
  </property>
  <property fmtid="{D5CDD505-2E9C-101B-9397-08002B2CF9AE}" pid="13" name="TaxKeyword">
    <vt:lpwstr/>
  </property>
  <property fmtid="{D5CDD505-2E9C-101B-9397-08002B2CF9AE}" pid="14" name="NewsType">
    <vt:lpwstr/>
  </property>
  <property fmtid="{D5CDD505-2E9C-101B-9397-08002B2CF9AE}" pid="15" name="_dlc_policyId">
    <vt:lpwstr>0x0101000E4CB7077FEE4FF7AE86D4A500EEC780030016C849C62B10EB41ACA8C7EEDEF40BB20099ECF64382448D48A56095091C66B1A9|-661092312</vt:lpwstr>
  </property>
  <property fmtid="{D5CDD505-2E9C-101B-9397-08002B2CF9AE}" pid="16" name="Region">
    <vt:lpwstr/>
  </property>
  <property fmtid="{D5CDD505-2E9C-101B-9397-08002B2CF9AE}" pid="17" name="ItemType">
    <vt:lpwstr>435;#technical presentations|83a894cf-702b-47fc-aba5-41bd10dc1e75</vt:lpwstr>
  </property>
  <property fmtid="{D5CDD505-2E9C-101B-9397-08002B2CF9AE}" pid="18" name="Confidentiality">
    <vt:lpwstr>14;#customer ready|8986c41d-21c5-4f8f-8a12-ea4625b46858</vt:lpwstr>
  </property>
  <property fmtid="{D5CDD505-2E9C-101B-9397-08002B2CF9AE}" pid="19" name="Industries">
    <vt:lpwstr/>
  </property>
  <property fmtid="{D5CDD505-2E9C-101B-9397-08002B2CF9AE}" pid="20" name="MSProducts">
    <vt:lpwstr/>
  </property>
  <property fmtid="{D5CDD505-2E9C-101B-9397-08002B2CF9AE}" pid="21" name="Competitors">
    <vt:lpwstr/>
  </property>
  <property fmtid="{D5CDD505-2E9C-101B-9397-08002B2CF9AE}" pid="22" name="ExperienceContentType">
    <vt:lpwstr/>
  </property>
  <property fmtid="{D5CDD505-2E9C-101B-9397-08002B2CF9AE}" pid="23" name="SMSGDomain">
    <vt:lpwstr>21;#Cloud and Enterprise|adc2fe87-c79a-4ded-a449-3f86b954069d</vt:lpwstr>
  </property>
  <property fmtid="{D5CDD505-2E9C-101B-9397-08002B2CF9AE}" pid="24" name="BusinessArchitecture">
    <vt:lpwstr>1370;#Advanced Analytics|a794c42d-8e46-46ec-b99e-aa6f5cde33ef</vt:lpwstr>
  </property>
  <property fmtid="{D5CDD505-2E9C-101B-9397-08002B2CF9AE}" pid="25" name="Products">
    <vt:lpwstr>2034;#Azure Machine Learning|9207948e-39de-44e3-bca4-b0005ecebc86</vt:lpwstr>
  </property>
  <property fmtid="{D5CDD505-2E9C-101B-9397-08002B2CF9AE}" pid="26" name="EnterpriseDomainTags">
    <vt:lpwstr/>
  </property>
  <property fmtid="{D5CDD505-2E9C-101B-9397-08002B2CF9AE}" pid="27" name="j3562c58ee414e028925bc902cfc01a1">
    <vt:lpwstr/>
  </property>
  <property fmtid="{D5CDD505-2E9C-101B-9397-08002B2CF9AE}" pid="28" name="Segments">
    <vt:lpwstr/>
  </property>
  <property fmtid="{D5CDD505-2E9C-101B-9397-08002B2CF9AE}" pid="29" name="Partners">
    <vt:lpwstr/>
  </property>
  <property fmtid="{D5CDD505-2E9C-101B-9397-08002B2CF9AE}" pid="30" name="ActivitiesAndPrograms">
    <vt:lpwstr/>
  </property>
  <property fmtid="{D5CDD505-2E9C-101B-9397-08002B2CF9AE}" pid="31" name="la4444b61d19467597d63190b69ac227">
    <vt:lpwstr/>
  </property>
  <property fmtid="{D5CDD505-2E9C-101B-9397-08002B2CF9AE}" pid="32" name="l6f004f21209409da86a713c0f24627d">
    <vt:lpwstr/>
  </property>
  <property fmtid="{D5CDD505-2E9C-101B-9397-08002B2CF9AE}" pid="33" name="Topics">
    <vt:lpwstr/>
  </property>
  <property fmtid="{D5CDD505-2E9C-101B-9397-08002B2CF9AE}" pid="34" name="Groups">
    <vt:lpwstr/>
  </property>
  <property fmtid="{D5CDD505-2E9C-101B-9397-08002B2CF9AE}" pid="35" name="MSProductsTaxHTField0">
    <vt:lpwstr/>
  </property>
  <property fmtid="{D5CDD505-2E9C-101B-9397-08002B2CF9AE}" pid="36" name="Languages">
    <vt:lpwstr/>
  </property>
  <property fmtid="{D5CDD505-2E9C-101B-9397-08002B2CF9AE}" pid="37" name="e8080b0481964c759b2c36ae49591b31">
    <vt:lpwstr/>
  </property>
  <property fmtid="{D5CDD505-2E9C-101B-9397-08002B2CF9AE}" pid="38" name="TechnicalLevel">
    <vt:lpwstr/>
  </property>
  <property fmtid="{D5CDD505-2E9C-101B-9397-08002B2CF9AE}" pid="39" name="Audiences">
    <vt:lpwstr/>
  </property>
  <property fmtid="{D5CDD505-2E9C-101B-9397-08002B2CF9AE}" pid="40" name="ldac8aee9d1f469e8cd8c3f8d6a615f2">
    <vt:lpwstr/>
  </property>
  <property fmtid="{D5CDD505-2E9C-101B-9397-08002B2CF9AE}" pid="41" name="EmployeeRole">
    <vt:lpwstr/>
  </property>
  <property fmtid="{D5CDD505-2E9C-101B-9397-08002B2CF9AE}" pid="42" name="NewsTopic">
    <vt:lpwstr/>
  </property>
  <property fmtid="{D5CDD505-2E9C-101B-9397-08002B2CF9AE}" pid="43" name="Roles">
    <vt:lpwstr/>
  </property>
  <property fmtid="{D5CDD505-2E9C-101B-9397-08002B2CF9AE}" pid="44" name="ItemRetentionFormula">
    <vt:lpwstr>&lt;formula id="Microsoft.Office.RecordsManagement.PolicyFeatures.Expiration.Formula.BuiltIn"&gt;&lt;number&gt;0&lt;/number&gt;&lt;property&gt;Expire_x005f_x0020_Review&lt;/property&gt;&lt;propertyId&gt;4efb7b69-53dd-4711-a372-96a7c80c7a38&lt;/propertyId&gt;&lt;period&gt;days&lt;/period&gt;&lt;/formula&gt;</vt:lpwstr>
  </property>
  <property fmtid="{D5CDD505-2E9C-101B-9397-08002B2CF9AE}" pid="45" name="NewsSource">
    <vt:lpwstr/>
  </property>
  <property fmtid="{D5CDD505-2E9C-101B-9397-08002B2CF9AE}" pid="46" name="SMSGTags">
    <vt:lpwstr/>
  </property>
  <property fmtid="{D5CDD505-2E9C-101B-9397-08002B2CF9AE}" pid="47" name="_dlc_DocIdItemGuid">
    <vt:lpwstr>6f21bdcc-45c2-4903-b4cf-d7a1ab336d48</vt:lpwstr>
  </property>
  <property fmtid="{D5CDD505-2E9C-101B-9397-08002B2CF9AE}" pid="48" name="MSPhysicalGeography">
    <vt:lpwstr/>
  </property>
  <property fmtid="{D5CDD505-2E9C-101B-9397-08002B2CF9AE}" pid="49" name="_docset_NoMedatataSyncRequired">
    <vt:lpwstr>False</vt:lpwstr>
  </property>
  <property fmtid="{D5CDD505-2E9C-101B-9397-08002B2CF9AE}" pid="50" name="LastSharedByUser">
    <vt:lpwstr>ahmedmos@microsoft.com</vt:lpwstr>
  </property>
  <property fmtid="{D5CDD505-2E9C-101B-9397-08002B2CF9AE}" pid="51" name="LastSharedByTime">
    <vt:filetime>2017-12-17T09:35:14Z</vt:filetime>
  </property>
  <property fmtid="{D5CDD505-2E9C-101B-9397-08002B2CF9AE}" pid="52" name="SharedWithUsers">
    <vt:lpwstr>68043;#Alessio Bagnaresi</vt:lpwstr>
  </property>
  <property fmtid="{D5CDD505-2E9C-101B-9397-08002B2CF9AE}" pid="53" name="AuthorIds_UIVersion_512">
    <vt:lpwstr>52</vt:lpwstr>
  </property>
</Properties>
</file>